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9"/>
  </p:notesMasterIdLst>
  <p:sldIdLst>
    <p:sldId id="269" r:id="rId3"/>
    <p:sldId id="270" r:id="rId4"/>
    <p:sldId id="271" r:id="rId5"/>
    <p:sldId id="274" r:id="rId6"/>
    <p:sldId id="272" r:id="rId7"/>
    <p:sldId id="268" r:id="rId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HOUZH-GMCC" initials="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94620" autoAdjust="0"/>
  </p:normalViewPr>
  <p:slideViewPr>
    <p:cSldViewPr>
      <p:cViewPr varScale="1">
        <p:scale>
          <a:sx n="81" d="100"/>
          <a:sy n="81" d="100"/>
        </p:scale>
        <p:origin x="-62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B62177-A6D5-48E4-89EE-92C152C52521}" type="datetimeFigureOut">
              <a:rPr lang="zh-CN" altLang="en-US" smtClean="0"/>
              <a:pPr/>
              <a:t>2016/8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0C0178-D076-4C2A-99D5-A1350F78698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0632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D75C65-5099-4694-A229-E383ED5DCAA2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93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jpeg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4.jpeg"/><Relationship Id="rId4" Type="http://schemas.openxmlformats.org/officeDocument/2006/relationships/tags" Target="../tags/tag15.xml"/><Relationship Id="rId9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jpeg"/><Relationship Id="rId4" Type="http://schemas.openxmlformats.org/officeDocument/2006/relationships/tags" Target="../tags/tag1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jpeg"/><Relationship Id="rId4" Type="http://schemas.openxmlformats.org/officeDocument/2006/relationships/tags" Target="../tags/tag9.xml"/><Relationship Id="rId9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guoliang_liu\桌面\中国移动通信logo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xtfooterCVLPage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fld id="{9553F546-8205-43E2-A406-BD9B422FE421}" type="slidenum">
              <a:rPr lang="zh-CN" altLang="en-US" sz="80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r>
              <a:rPr lang="en-US" altLang="zh-CN" sz="8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5" name="图片 7" descr="ppt模板-02.jpg"/>
          <p:cNvPicPr>
            <a:picLocks noChangeAspect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图片 6" descr="ppt模板-01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93514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85821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12201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96611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9358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66439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guoliang_liu\桌面\中国移动通信logo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xtfooterCVLPage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>
            <a:lvl1pPr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fld id="{3A2B4E74-64C4-4A13-9883-FA32787E6463}" type="slidenum">
              <a:rPr kumimoji="0" lang="zh-CN" altLang="en-US" sz="800" smtClean="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r>
              <a:rPr kumimoji="0" lang="en-US" altLang="zh-CN" sz="800" smtClean="0">
                <a:solidFill>
                  <a:srgbClr val="000000"/>
                </a:solidFill>
              </a:rPr>
              <a:t> </a:t>
            </a:r>
            <a:endParaRPr kumimoji="0" lang="en-US" altLang="zh-CN" sz="800" dirty="0" smtClean="0">
              <a:solidFill>
                <a:srgbClr val="000000"/>
              </a:solidFill>
            </a:endParaRPr>
          </a:p>
        </p:txBody>
      </p:sp>
      <p:pic>
        <p:nvPicPr>
          <p:cNvPr id="5" name="图片 7" descr="ppt模板-02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6" descr="ppt模板-01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74749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guoliang_liu\桌面\中国移动通信logo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xtfooterCVLPage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>
            <a:lvl1pPr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fld id="{E4FC23C3-8CFA-41B2-8D57-E9041DF9B8F4}" type="slidenum">
              <a:rPr kumimoji="0" lang="zh-CN" altLang="en-US" sz="800" smtClean="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r>
              <a:rPr kumimoji="0" lang="en-US" altLang="zh-CN" sz="800" smtClean="0">
                <a:solidFill>
                  <a:srgbClr val="000000"/>
                </a:solidFill>
              </a:rPr>
              <a:t> </a:t>
            </a:r>
            <a:endParaRPr kumimoji="0" lang="en-US" altLang="zh-CN" sz="800" dirty="0" smtClean="0">
              <a:solidFill>
                <a:srgbClr val="000000"/>
              </a:solidFill>
            </a:endParaRPr>
          </a:p>
        </p:txBody>
      </p:sp>
      <p:pic>
        <p:nvPicPr>
          <p:cNvPr id="5" name="图片 7" descr="ppt模板-02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6" descr="ppt模板-03.jp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233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Documents and Settings\guoliang_liu\桌面\中国移动通信logo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xtfooterCVLPage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fld id="{AB28F9A8-0D9C-478E-B4C4-29B391899FEC}" type="slidenum">
              <a:rPr lang="zh-CN" altLang="en-US" sz="80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r>
              <a:rPr lang="en-US" altLang="zh-CN" sz="8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5" name="图片 7" descr="ppt模板-02.jpg"/>
          <p:cNvPicPr>
            <a:picLocks noChangeAspect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图片 6" descr="ppt模板-03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2000" y="116632"/>
            <a:ext cx="7826375" cy="369887"/>
          </a:xfrm>
          <a:prstGeom prst="rect">
            <a:avLst/>
          </a:prstGeo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52000" y="1628800"/>
            <a:ext cx="8640000" cy="2160240"/>
          </a:xfrm>
          <a:prstGeom prst="rect">
            <a:avLst/>
          </a:prstGeom>
        </p:spPr>
        <p:txBody>
          <a:bodyPr/>
          <a:lstStyle>
            <a:lvl1pPr marL="176213" indent="-176213">
              <a:lnSpc>
                <a:spcPct val="13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ü"/>
              <a:defRPr b="1">
                <a:solidFill>
                  <a:srgbClr val="FF0000"/>
                </a:solidFill>
              </a:defRPr>
            </a:lvl1pPr>
            <a:lvl2pPr marL="533400" indent="-1778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892175" indent="-179388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252538" indent="-180975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614488" indent="-180975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3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2000" y="116632"/>
            <a:ext cx="7826375" cy="36988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52000" y="1628800"/>
            <a:ext cx="8640000" cy="2160240"/>
          </a:xfrm>
          <a:prstGeom prst="rect">
            <a:avLst/>
          </a:prstGeom>
        </p:spPr>
        <p:txBody>
          <a:bodyPr/>
          <a:lstStyle>
            <a:lvl1pPr marL="176213" indent="-176213">
              <a:lnSpc>
                <a:spcPct val="13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ü"/>
              <a:defRPr b="1">
                <a:solidFill>
                  <a:srgbClr val="FF0000"/>
                </a:solidFill>
              </a:defRPr>
            </a:lvl1pPr>
            <a:lvl2pPr marL="533400" indent="-177800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892175" indent="-179388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3pPr>
            <a:lvl4pPr marL="1252538" indent="-180975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4pPr>
            <a:lvl5pPr marL="1614488" indent="-180975">
              <a:lnSpc>
                <a:spcPct val="13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ppt模板-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BB31B7B-1CFB-42D4-B791-B28C70A41A73}" type="slidenum">
              <a:rPr lang="zh-CN" altLang="en-US" sz="1200" b="1">
                <a:solidFill>
                  <a:srgbClr val="E40077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200" b="1">
              <a:solidFill>
                <a:srgbClr val="E40077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6" descr="ppt模板-0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59ACA4E-2DEB-456D-B9BD-CC5B85F61F57}" type="slidenum">
              <a:rPr lang="zh-CN" altLang="en-US" sz="1200" b="1" smtClean="0">
                <a:solidFill>
                  <a:srgbClr val="9BBB59"/>
                </a:solidFill>
                <a:latin typeface="微软雅黑" pitchFamily="34" charset="-122"/>
                <a:ea typeface="微软雅黑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sz="1200" b="1" dirty="0" smtClean="0">
              <a:solidFill>
                <a:srgbClr val="9BBB59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85478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48713" y="6608763"/>
            <a:ext cx="3952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88DAA39-0D8E-4DDF-BCC6-EFE4A4E7D23A}" type="slidenum">
              <a:rPr lang="zh-CN" altLang="en-US" sz="1200" b="1">
                <a:solidFill>
                  <a:srgbClr val="9BBB59"/>
                </a:solidFill>
                <a:latin typeface="微软雅黑" panose="020B0503020204020204" pitchFamily="34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 b="1">
              <a:solidFill>
                <a:srgbClr val="9BBB59"/>
              </a:solidFill>
              <a:latin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89739"/>
            <a:ext cx="8424936" cy="648072"/>
          </a:xfrm>
          <a:prstGeom prst="rect">
            <a:avLst/>
          </a:prstGeom>
        </p:spPr>
        <p:txBody>
          <a:bodyPr anchor="ctr"/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zh-CN" altLang="en-US" sz="2400" b="1" kern="1200" dirty="0">
                <a:solidFill>
                  <a:srgbClr val="0070C0"/>
                </a:solidFill>
                <a:latin typeface="+mn-ea"/>
                <a:ea typeface="+mn-ea"/>
                <a:cs typeface="+mn-cs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8905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heme" Target="../theme/theme2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11.xml"/><Relationship Id="rId11" Type="http://schemas.openxmlformats.org/officeDocument/2006/relationships/image" Target="../media/image3.jpeg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vmlDrawing" Target="../drawings/vmlDrawing4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1" imgW="270" imgH="270" progId="">
                  <p:embed/>
                </p:oleObj>
              </mc:Choice>
              <mc:Fallback>
                <p:oleObj name="think-cell Slide" r:id="rId21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" descr="C:\Documents and Settings\guoliang_liu\桌面\中国移动通信logo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xtfooterCVLPage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fld id="{A23F8C57-E4D2-4A34-9AC2-1DA9058553E5}" type="slidenum">
              <a:rPr lang="zh-CN" altLang="en-US" sz="80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r>
              <a:rPr lang="en-US" altLang="zh-CN" sz="8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1029" name="图片 7" descr="ppt模板-02.jp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pitchFamily="34" charset="0"/>
        <a:buChar char="›"/>
        <a:defRPr kumimoji="1"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5334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-122"/>
        <a:buChar char="–"/>
        <a:defRPr kumimoji="1"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892175" indent="-179388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 charset="-122"/>
        <a:buChar char="›"/>
        <a:defRPr kumimoji="1"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25253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-122"/>
        <a:buChar char="-"/>
        <a:defRPr kumimoji="1"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1448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-122"/>
        <a:buChar char="›"/>
        <a:defRPr kumimoji="1" sz="1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4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Picture 2" descr="C:\Documents and Settings\guoliang_liu\桌面\中国移动通信logo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50" y="90488"/>
            <a:ext cx="1101725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xtfooterCVLPag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00563" y="6634163"/>
            <a:ext cx="130175" cy="2238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/>
          <a:lstStyle>
            <a:lvl1pPr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fld id="{620CD9DD-CB5B-446A-92ED-94B0090FCC01}" type="slidenum">
              <a:rPr kumimoji="0" lang="zh-CN" altLang="en-US" sz="800" smtClean="0">
                <a:solidFill>
                  <a:srgbClr val="000000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r>
              <a:rPr kumimoji="0" lang="en-US" altLang="zh-CN" sz="800" smtClean="0">
                <a:solidFill>
                  <a:srgbClr val="000000"/>
                </a:solidFill>
              </a:rPr>
              <a:t> </a:t>
            </a:r>
            <a:endParaRPr kumimoji="0" lang="en-US" altLang="zh-CN" sz="800" dirty="0" smtClean="0">
              <a:solidFill>
                <a:srgbClr val="000000"/>
              </a:solidFill>
            </a:endParaRPr>
          </a:p>
        </p:txBody>
      </p:sp>
      <p:pic>
        <p:nvPicPr>
          <p:cNvPr id="9221" name="图片 7" descr="ppt模板-02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0061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pitchFamily="34" charset="0"/>
        <a:buChar char="›"/>
        <a:defRPr kumimoji="1"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5334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/>
        <a:buChar char="–"/>
        <a:defRPr kumimoji="1"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892175" indent="-179388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/>
        <a:buChar char="›"/>
        <a:defRPr kumimoji="1"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25253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/>
        <a:buChar char="-"/>
        <a:defRPr kumimoji="1"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1448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/>
        <a:buChar char="›"/>
        <a:defRPr kumimoji="1" sz="1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2"/>
          <p:cNvSpPr>
            <a:spLocks noGrp="1"/>
          </p:cNvSpPr>
          <p:nvPr>
            <p:ph type="title" idx="4294967295"/>
          </p:nvPr>
        </p:nvSpPr>
        <p:spPr>
          <a:xfrm>
            <a:off x="186729" y="112501"/>
            <a:ext cx="7826375" cy="461962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spAutoFit/>
          </a:bodyPr>
          <a:lstStyle/>
          <a:p>
            <a:pPr algn="l" eaLnBrk="1" hangingPunct="1"/>
            <a:r>
              <a:rPr lang="en-US" altLang="zh-CN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2</a:t>
            </a:r>
            <a:r>
              <a:rPr lang="en-US" altLang="zh-CN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.1 MM—</a:t>
            </a:r>
            <a:r>
              <a:rPr lang="zh-CN" altLang="en-US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移动应用商场</a:t>
            </a:r>
            <a:endParaRPr lang="zh-CN" altLang="en-US" sz="2400" b="1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287978" y="990665"/>
            <a:ext cx="8568951" cy="122413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1619250" indent="-180975" fontAlgn="base">
              <a:lnSpc>
                <a:spcPct val="130000"/>
              </a:lnSpc>
              <a:spcBef>
                <a:spcPct val="0"/>
              </a:spcBef>
              <a:spcAft>
                <a:spcPts val="300"/>
              </a:spcAft>
              <a:buClr>
                <a:prstClr val="black"/>
              </a:buClr>
              <a:buFont typeface="Arial" pitchFamily="34" charset="0"/>
              <a:buChar char="•"/>
              <a:tabLst>
                <a:tab pos="1619250" algn="l"/>
              </a:tabLst>
              <a:defRPr/>
            </a:pPr>
            <a:r>
              <a:rPr lang="zh-CN" altLang="en-US" sz="16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zh-CN" altLang="en-US" sz="2400" b="1" dirty="0">
                <a:solidFill>
                  <a:srgbClr val="E40077"/>
                </a:solidFill>
                <a:latin typeface="Arial" charset="0"/>
              </a:rPr>
              <a:t>移动应用商场（</a:t>
            </a:r>
            <a:r>
              <a:rPr lang="en-US" altLang="zh-CN" sz="2400" b="1" dirty="0">
                <a:solidFill>
                  <a:srgbClr val="E40077"/>
                </a:solidFill>
                <a:latin typeface="Arial" charset="0"/>
              </a:rPr>
              <a:t>Mobile Market</a:t>
            </a:r>
            <a:r>
              <a:rPr lang="zh-CN" altLang="en-US" sz="2400" b="1" dirty="0">
                <a:solidFill>
                  <a:srgbClr val="E40077"/>
                </a:solidFill>
                <a:latin typeface="Arial" charset="0"/>
              </a:rPr>
              <a:t>）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是面向智能终端的移动互联网内容分发平台，通过开放合作的方式，引入并分发各类优质应用和数字内容，是</a:t>
            </a:r>
            <a:r>
              <a:rPr lang="zh-CN" altLang="en-US" b="1" dirty="0">
                <a:solidFill>
                  <a:srgbClr val="E40077"/>
                </a:solidFill>
                <a:latin typeface="Arial" charset="0"/>
              </a:rPr>
              <a:t>面向消费者、开发者和产业链的一站式平台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53822" y="1084501"/>
            <a:ext cx="1058292" cy="1058292"/>
          </a:xfrm>
          <a:prstGeom prst="rect">
            <a:avLst/>
          </a:prstGeom>
        </p:spPr>
      </p:pic>
      <p:sp>
        <p:nvSpPr>
          <p:cNvPr id="7" name="矩形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68298" y="2500518"/>
            <a:ext cx="2880320" cy="2089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4625" indent="-1746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三个一站式平台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面向消费者的一站式销售平台，累计分发内容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60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亿次</a:t>
            </a:r>
            <a:endParaRPr lang="en-US" altLang="zh-CN" sz="1400" b="1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面向开发者的一站式服务平台， 汇聚开发者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379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万</a:t>
            </a:r>
            <a:endParaRPr lang="en-US" altLang="zh-CN" sz="1400" b="1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面向产业链的一站式支撑平台，开放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IAP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等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20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项能力</a:t>
            </a:r>
            <a:endParaRPr lang="en-US" altLang="zh-CN" sz="1400" b="1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8" name="矩形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5970" y="2500518"/>
            <a:ext cx="2590800" cy="1926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绿色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安全正版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手机安全先锋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</a:rPr>
              <a:t>保障安全</a:t>
            </a:r>
          </a:p>
          <a:p>
            <a:pPr>
              <a:lnSpc>
                <a:spcPct val="13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</a:rPr>
              <a:t>推动成立绿色安全联盟</a:t>
            </a:r>
            <a:endParaRPr lang="zh-CN" altLang="en-US" sz="1400" dirty="0">
              <a:solidFill>
                <a:srgbClr val="00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</a:rPr>
              <a:t>发布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</a:rPr>
              <a:t>绿色安全</a:t>
            </a: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</a:rPr>
              <a:t>八大</a:t>
            </a:r>
            <a:r>
              <a:rPr lang="zh-CN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标准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严格把控上线流程，确保引入正版应用</a:t>
            </a:r>
          </a:p>
        </p:txBody>
      </p:sp>
      <p:sp>
        <p:nvSpPr>
          <p:cNvPr id="9" name="矩形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46757" y="2500518"/>
            <a:ext cx="2610171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4625" indent="-1746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开放合作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聚合渠道和开发者，按照商品收入的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itchFamily="34" charset="-122"/>
              </a:rPr>
              <a:t>3</a:t>
            </a:r>
            <a:r>
              <a:rPr lang="zh-CN" altLang="zh-CN" sz="1400" b="1" dirty="0" smtClean="0">
                <a:solidFill>
                  <a:prstClr val="black"/>
                </a:solidFill>
                <a:latin typeface="微软雅黑" pitchFamily="34" charset="-122"/>
              </a:rPr>
              <a:t>：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itchFamily="34" charset="-122"/>
              </a:rPr>
              <a:t>4</a:t>
            </a:r>
            <a:r>
              <a:rPr lang="zh-CN" altLang="zh-CN" sz="1400" b="1" dirty="0" smtClean="0">
                <a:solidFill>
                  <a:prstClr val="black"/>
                </a:solidFill>
                <a:latin typeface="微软雅黑" pitchFamily="34" charset="-122"/>
              </a:rPr>
              <a:t>：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itchFamily="34" charset="-122"/>
              </a:rPr>
              <a:t>3</a:t>
            </a: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进行分成的模式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，后续将启动多种灵活的分成模式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已完成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130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家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渠道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接入</a:t>
            </a:r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13" name="图片 13" descr="ceSigel4MhjWI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721" y="5224288"/>
            <a:ext cx="1203737" cy="12710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UC截图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05"/>
          <a:stretch>
            <a:fillRect/>
          </a:stretch>
        </p:blipFill>
        <p:spPr bwMode="auto">
          <a:xfrm>
            <a:off x="6664978" y="4733776"/>
            <a:ext cx="994018" cy="14022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d:\My Documents\桌面\答复_ 烦请协助提供MM绿色安全相关的截图，非常感谢！\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8409" y="4437921"/>
            <a:ext cx="930567" cy="15552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3" descr="d:\My Documents\桌面\答复_ 烦请协助提供MM绿色安全相关的截图，非常感谢！\应用宝截屏2014060908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96509" y="4772906"/>
            <a:ext cx="1002149" cy="17158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图片 7" descr="豌豆荚截屏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3669686" y="4666521"/>
            <a:ext cx="1226848" cy="15416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" name="Picture 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524610" y="4958445"/>
            <a:ext cx="1226848" cy="15416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99939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2"/>
          <p:cNvSpPr txBox="1">
            <a:spLocks/>
          </p:cNvSpPr>
          <p:nvPr/>
        </p:nvSpPr>
        <p:spPr>
          <a:xfrm>
            <a:off x="332349" y="99947"/>
            <a:ext cx="7826375" cy="461665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400" b="1" dirty="0" smtClean="0">
                <a:solidFill>
                  <a:prstClr val="white"/>
                </a:solidFill>
              </a:rPr>
              <a:t>2.2</a:t>
            </a:r>
            <a:r>
              <a:rPr lang="zh-CN" altLang="en-US" sz="2400" b="1" dirty="0" smtClean="0">
                <a:solidFill>
                  <a:prstClr val="white"/>
                </a:solidFill>
              </a:rPr>
              <a:t>融合通信</a:t>
            </a:r>
            <a:endParaRPr lang="zh-CN" altLang="en-US" sz="2400" b="1" dirty="0">
              <a:solidFill>
                <a:prstClr val="white"/>
              </a:solidFill>
            </a:endParaRPr>
          </a:p>
        </p:txBody>
      </p:sp>
      <p:sp>
        <p:nvSpPr>
          <p:cNvPr id="8" name="矩形 1"/>
          <p:cNvSpPr>
            <a:spLocks noChangeArrowheads="1"/>
          </p:cNvSpPr>
          <p:nvPr/>
        </p:nvSpPr>
        <p:spPr bwMode="auto">
          <a:xfrm>
            <a:off x="3225337" y="2360274"/>
            <a:ext cx="2471102" cy="2012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新消息</a:t>
            </a:r>
            <a:endParaRPr lang="en-US" altLang="zh-CN" sz="1600" b="1" dirty="0" smtClean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提供基于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/>
              </a:rPr>
              <a:t>IP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的即时消息服务，并兼容传统短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/>
              </a:rPr>
              <a:t>/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彩信</a:t>
            </a:r>
            <a:endParaRPr lang="en-US" altLang="zh-CN" sz="1400" dirty="0" smtClean="0">
              <a:solidFill>
                <a:prstClr val="black"/>
              </a:solidFill>
              <a:latin typeface="微软雅黑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一对一消息、群发消息、群聊消息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 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阅后即焚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基于彩云的文件分享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9" name="矩形 1"/>
          <p:cNvSpPr>
            <a:spLocks noChangeArrowheads="1"/>
          </p:cNvSpPr>
          <p:nvPr/>
        </p:nvSpPr>
        <p:spPr bwMode="auto">
          <a:xfrm>
            <a:off x="5994922" y="2360274"/>
            <a:ext cx="2736304" cy="133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新联系</a:t>
            </a:r>
            <a:endParaRPr lang="en-US" altLang="zh-CN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ts val="2000"/>
              </a:lnSpc>
              <a:spcBef>
                <a:spcPct val="5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实名社交网络、公众信息和个人服务的入口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n-US" altLang="zh-CN" sz="1400" dirty="0">
              <a:solidFill>
                <a:prstClr val="black"/>
              </a:solidFill>
              <a:latin typeface="微软雅黑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441103" y="2360274"/>
            <a:ext cx="2721756" cy="149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新通话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以</a:t>
            </a:r>
            <a:r>
              <a:rPr lang="en-US" altLang="zh-CN" sz="1400" dirty="0" err="1" smtClean="0">
                <a:solidFill>
                  <a:prstClr val="black"/>
                </a:solidFill>
                <a:latin typeface="微软雅黑" pitchFamily="34" charset="-122"/>
              </a:rPr>
              <a:t>VoLTE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为核心，构建用户通话新体验</a:t>
            </a:r>
            <a:endParaRPr lang="en-US" altLang="zh-CN" sz="1400" dirty="0" smtClean="0">
              <a:solidFill>
                <a:prstClr val="black"/>
              </a:solidFill>
              <a:latin typeface="微软雅黑" pitchFamily="34" charset="-122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可灵活管理黑名单、新建联系人，标记联系人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280153" y="948903"/>
            <a:ext cx="8568951" cy="122413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1619250" indent="-180975" fontAlgn="base">
              <a:lnSpc>
                <a:spcPct val="130000"/>
              </a:lnSpc>
              <a:spcBef>
                <a:spcPct val="0"/>
              </a:spcBef>
              <a:spcAft>
                <a:spcPts val="300"/>
              </a:spcAft>
              <a:buClr>
                <a:prstClr val="black"/>
              </a:buClr>
              <a:buFont typeface="Arial" pitchFamily="34" charset="0"/>
              <a:buChar char="•"/>
              <a:tabLst>
                <a:tab pos="1619250" algn="l"/>
              </a:tabLst>
              <a:defRPr/>
            </a:pPr>
            <a:r>
              <a:rPr lang="zh-CN" altLang="en-US" sz="28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zh-CN" altLang="en-US" sz="2800" b="1" dirty="0">
                <a:solidFill>
                  <a:srgbClr val="FF0066"/>
                </a:solidFill>
                <a:latin typeface="Arial" charset="0"/>
              </a:rPr>
              <a:t> </a:t>
            </a:r>
            <a:r>
              <a:rPr lang="zh-CN" altLang="en-US" sz="2800" b="1" dirty="0" smtClean="0">
                <a:solidFill>
                  <a:srgbClr val="E40077"/>
                </a:solidFill>
                <a:latin typeface="Arial" charset="0"/>
              </a:rPr>
              <a:t>融合通信  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是面向中国移动手机用户提供基于</a:t>
            </a:r>
            <a:r>
              <a:rPr lang="en-US" altLang="zh-CN" b="1" dirty="0" smtClean="0">
                <a:solidFill>
                  <a:prstClr val="black"/>
                </a:solidFill>
                <a:latin typeface="Arial" charset="0"/>
              </a:rPr>
              <a:t>4G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网络和四网协同环境下的基础通信服务</a:t>
            </a:r>
            <a:r>
              <a:rPr lang="en-US" altLang="zh-CN" b="1" dirty="0" smtClean="0">
                <a:solidFill>
                  <a:prstClr val="black"/>
                </a:solidFill>
                <a:latin typeface="Arial" charset="0"/>
              </a:rPr>
              <a:t>,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是语音、消息和通讯录等基础通信业务在</a:t>
            </a:r>
            <a:r>
              <a:rPr lang="en-US" altLang="zh-CN" b="1" dirty="0" smtClean="0">
                <a:solidFill>
                  <a:prstClr val="black"/>
                </a:solidFill>
                <a:latin typeface="Arial" charset="0"/>
              </a:rPr>
              <a:t>4G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网络环境下的升级，是</a:t>
            </a:r>
            <a:r>
              <a:rPr lang="zh-CN" altLang="en-US" b="1" dirty="0">
                <a:solidFill>
                  <a:srgbClr val="E40077"/>
                </a:solidFill>
                <a:latin typeface="Arial" charset="0"/>
              </a:rPr>
              <a:t>互联网</a:t>
            </a:r>
            <a:r>
              <a:rPr lang="en-US" altLang="zh-CN" b="1" dirty="0">
                <a:solidFill>
                  <a:srgbClr val="E40077"/>
                </a:solidFill>
                <a:latin typeface="Arial" charset="0"/>
              </a:rPr>
              <a:t>+</a:t>
            </a:r>
            <a:r>
              <a:rPr lang="zh-CN" altLang="en-US" b="1" dirty="0">
                <a:solidFill>
                  <a:srgbClr val="E40077"/>
                </a:solidFill>
                <a:latin typeface="Arial" charset="0"/>
              </a:rPr>
              <a:t>通信最直接的体现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424169" y="1020911"/>
            <a:ext cx="1141200" cy="1152128"/>
          </a:xfrm>
          <a:prstGeom prst="roundRect">
            <a:avLst/>
          </a:prstGeom>
          <a:noFill/>
          <a:ln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b="1" dirty="0">
                <a:solidFill>
                  <a:srgbClr val="E40077"/>
                </a:solidFill>
                <a:latin typeface="Arial" charset="0"/>
              </a:rPr>
              <a:t>融合通信</a:t>
            </a:r>
          </a:p>
        </p:txBody>
      </p:sp>
      <p:pic>
        <p:nvPicPr>
          <p:cNvPr id="18" name="Picture 7"/>
          <p:cNvPicPr>
            <a:picLocks noChangeAspect="1" noChangeArrowheads="1"/>
          </p:cNvPicPr>
          <p:nvPr/>
        </p:nvPicPr>
        <p:blipFill>
          <a:blip r:embed="rId2" cstate="print"/>
          <a:srcRect t="2959" b="7031"/>
          <a:stretch>
            <a:fillRect/>
          </a:stretch>
        </p:blipFill>
        <p:spPr bwMode="auto">
          <a:xfrm>
            <a:off x="882354" y="4145183"/>
            <a:ext cx="1441152" cy="23050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" name="组合 22"/>
          <p:cNvGrpSpPr/>
          <p:nvPr/>
        </p:nvGrpSpPr>
        <p:grpSpPr>
          <a:xfrm>
            <a:off x="6570986" y="3813320"/>
            <a:ext cx="1944216" cy="2708920"/>
            <a:chOff x="5364163" y="1196975"/>
            <a:chExt cx="2879725" cy="5119688"/>
          </a:xfrm>
        </p:grpSpPr>
        <p:pic>
          <p:nvPicPr>
            <p:cNvPr id="19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64163" y="1196975"/>
              <a:ext cx="2879725" cy="511968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0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364163" y="1196975"/>
              <a:ext cx="2879725" cy="511968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21" name="矩形 20"/>
            <p:cNvSpPr/>
            <p:nvPr/>
          </p:nvSpPr>
          <p:spPr>
            <a:xfrm>
              <a:off x="5508625" y="1412875"/>
              <a:ext cx="1079500" cy="431800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5435600" y="2133600"/>
              <a:ext cx="2520950" cy="1800225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组合 26"/>
          <p:cNvGrpSpPr/>
          <p:nvPr/>
        </p:nvGrpSpPr>
        <p:grpSpPr>
          <a:xfrm>
            <a:off x="2899347" y="4650032"/>
            <a:ext cx="3095575" cy="1512168"/>
            <a:chOff x="468313" y="4365104"/>
            <a:chExt cx="5327650" cy="2248421"/>
          </a:xfrm>
        </p:grpSpPr>
        <p:pic>
          <p:nvPicPr>
            <p:cNvPr id="24" name="Picture 1"/>
            <p:cNvPicPr>
              <a:picLocks noChangeAspect="1" noChangeArrowheads="1"/>
            </p:cNvPicPr>
            <p:nvPr/>
          </p:nvPicPr>
          <p:blipFill>
            <a:blip r:embed="rId5" cstate="print"/>
            <a:srcRect t="49811"/>
            <a:stretch>
              <a:fillRect/>
            </a:stretch>
          </p:blipFill>
          <p:spPr bwMode="auto">
            <a:xfrm>
              <a:off x="468313" y="4365104"/>
              <a:ext cx="2519362" cy="224842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 l="-29" t="355" b="65891"/>
            <a:stretch>
              <a:fillRect/>
            </a:stretch>
          </p:blipFill>
          <p:spPr bwMode="auto">
            <a:xfrm>
              <a:off x="3275856" y="4437112"/>
              <a:ext cx="2520107" cy="151216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26" name="圆角矩形标注 25"/>
            <p:cNvSpPr/>
            <p:nvPr/>
          </p:nvSpPr>
          <p:spPr>
            <a:xfrm>
              <a:off x="3419475" y="4868863"/>
              <a:ext cx="1657350" cy="647700"/>
            </a:xfrm>
            <a:prstGeom prst="wedgeRoundRectCallout">
              <a:avLst>
                <a:gd name="adj1" fmla="val -121446"/>
                <a:gd name="adj2" fmla="val 7684"/>
                <a:gd name="adj3" fmla="val 16667"/>
              </a:avLst>
            </a:prstGeom>
            <a:noFill/>
            <a:ln w="38100"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775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2"/>
          <p:cNvSpPr>
            <a:spLocks noGrp="1"/>
          </p:cNvSpPr>
          <p:nvPr>
            <p:ph type="title" idx="4294967295"/>
          </p:nvPr>
        </p:nvSpPr>
        <p:spPr>
          <a:xfrm>
            <a:off x="395536" y="132236"/>
            <a:ext cx="7826375" cy="461962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spAutoFit/>
          </a:bodyPr>
          <a:lstStyle/>
          <a:p>
            <a:pPr algn="l" eaLnBrk="1" hangingPunct="1"/>
            <a:r>
              <a:rPr lang="en-US" altLang="zh-CN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2</a:t>
            </a:r>
            <a:r>
              <a:rPr lang="en-US" altLang="zh-CN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.3 139</a:t>
            </a:r>
            <a:r>
              <a:rPr lang="zh-CN" altLang="en-US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邮箱</a:t>
            </a:r>
            <a:endParaRPr lang="zh-CN" altLang="en-US" sz="2400" b="1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287524" y="859471"/>
            <a:ext cx="8568951" cy="1440160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1619250" indent="-180975" fontAlgn="base">
              <a:lnSpc>
                <a:spcPct val="130000"/>
              </a:lnSpc>
              <a:spcBef>
                <a:spcPct val="0"/>
              </a:spcBef>
              <a:spcAft>
                <a:spcPts val="300"/>
              </a:spcAft>
              <a:buClr>
                <a:prstClr val="black"/>
              </a:buClr>
              <a:buFont typeface="Arial" pitchFamily="34" charset="0"/>
              <a:buChar char="•"/>
              <a:tabLst>
                <a:tab pos="1619250" algn="l"/>
              </a:tabLst>
              <a:defRPr/>
            </a:pPr>
            <a:r>
              <a:rPr lang="zh-CN" altLang="en-US" sz="2800" dirty="0" smtClean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zh-CN" altLang="en-US" sz="2800" b="1" dirty="0" smtClean="0">
                <a:solidFill>
                  <a:srgbClr val="FF0066"/>
                </a:solidFill>
                <a:latin typeface="Arial" charset="0"/>
              </a:rPr>
              <a:t> </a:t>
            </a:r>
            <a:r>
              <a:rPr lang="en-US" altLang="zh-CN" sz="2800" b="1" dirty="0" smtClean="0">
                <a:solidFill>
                  <a:srgbClr val="E40077"/>
                </a:solidFill>
                <a:latin typeface="Arial" charset="0"/>
              </a:rPr>
              <a:t>139</a:t>
            </a:r>
            <a:r>
              <a:rPr lang="zh-CN" altLang="en-US" sz="2800" b="1" dirty="0" smtClean="0">
                <a:solidFill>
                  <a:srgbClr val="E40077"/>
                </a:solidFill>
                <a:latin typeface="Arial" charset="0"/>
              </a:rPr>
              <a:t>邮箱  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为用户提供具备移动特色的基础邮箱服务，满足用户</a:t>
            </a:r>
            <a:r>
              <a:rPr lang="en-US" altLang="zh-CN" b="1" dirty="0">
                <a:solidFill>
                  <a:prstClr val="black"/>
                </a:solidFill>
                <a:latin typeface="Arial" charset="0"/>
              </a:rPr>
              <a:t>www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、</a:t>
            </a:r>
            <a:r>
              <a:rPr lang="en-US" altLang="zh-CN" b="1" dirty="0" err="1">
                <a:solidFill>
                  <a:prstClr val="black"/>
                </a:solidFill>
                <a:latin typeface="Arial" charset="0"/>
              </a:rPr>
              <a:t>wap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、短信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、</a:t>
            </a:r>
            <a:r>
              <a:rPr lang="en-US" altLang="zh-CN" b="1" dirty="0" smtClean="0">
                <a:solidFill>
                  <a:prstClr val="black"/>
                </a:solidFill>
                <a:latin typeface="Arial" charset="0"/>
              </a:rPr>
              <a:t>APP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等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多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界面使用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需求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，打造围绕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手机号码资产的个人云端</a:t>
            </a:r>
            <a:r>
              <a:rPr lang="zh-CN" altLang="en-US" b="1" dirty="0" smtClean="0">
                <a:solidFill>
                  <a:prstClr val="black"/>
                </a:solidFill>
                <a:latin typeface="Arial" charset="0"/>
              </a:rPr>
              <a:t>服务平台</a:t>
            </a:r>
            <a:endParaRPr lang="zh-CN" altLang="en-US" b="1" dirty="0">
              <a:solidFill>
                <a:srgbClr val="E40077"/>
              </a:solidFill>
              <a:latin typeface="Arial" charset="0"/>
            </a:endParaRPr>
          </a:p>
        </p:txBody>
      </p:sp>
      <p:pic>
        <p:nvPicPr>
          <p:cNvPr id="7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31540" y="948712"/>
            <a:ext cx="1141200" cy="1134895"/>
          </a:xfrm>
          <a:prstGeom prst="rect">
            <a:avLst/>
          </a:prstGeom>
        </p:spPr>
      </p:pic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3111366" y="2503159"/>
            <a:ext cx="2471102" cy="2012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话单、协同服务</a:t>
            </a:r>
            <a:endParaRPr lang="en-US" altLang="zh-CN" sz="1600" b="1" dirty="0" smtClean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话费帐单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，以电子信息化的</a:t>
            </a:r>
            <a:r>
              <a:rPr lang="zh-CN" altLang="en-US" sz="1400" dirty="0">
                <a:solidFill>
                  <a:prstClr val="black"/>
                </a:solidFill>
                <a:latin typeface="微软雅黑"/>
              </a:rPr>
              <a:t>方式丰富客户服务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体系</a:t>
            </a:r>
            <a:endParaRPr lang="en-US" altLang="zh-CN" sz="1400" dirty="0" smtClean="0">
              <a:solidFill>
                <a:prstClr val="black"/>
              </a:solidFill>
              <a:latin typeface="微软雅黑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服务协同，以电子</a:t>
            </a:r>
            <a:r>
              <a:rPr lang="zh-CN" altLang="en-US" sz="1400" dirty="0">
                <a:solidFill>
                  <a:prstClr val="black"/>
                </a:solidFill>
                <a:latin typeface="微软雅黑"/>
              </a:rPr>
              <a:t>渠道服务能力，为用户提供订单交易提醒、业务办理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/>
              </a:rPr>
              <a:t>存根等服务。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11" name="矩形 1"/>
          <p:cNvSpPr>
            <a:spLocks noChangeArrowheads="1"/>
          </p:cNvSpPr>
          <p:nvPr/>
        </p:nvSpPr>
        <p:spPr bwMode="auto">
          <a:xfrm>
            <a:off x="5808943" y="2488661"/>
            <a:ext cx="3080467" cy="159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特色功能</a:t>
            </a:r>
            <a:endParaRPr lang="en-US" altLang="zh-CN" sz="2000" b="1" dirty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ts val="2000"/>
              </a:lnSpc>
              <a:spcBef>
                <a:spcPct val="5000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日历服务，提供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会议邀请、生日提醒、宝宝防疫等多种特殊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提醒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云邮局，提供</a:t>
            </a: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海量</a:t>
            </a:r>
            <a:r>
              <a:rPr lang="zh-CN" altLang="zh-CN" sz="1400" dirty="0">
                <a:solidFill>
                  <a:prstClr val="black"/>
                </a:solidFill>
                <a:latin typeface="微软雅黑" pitchFamily="34" charset="-122"/>
              </a:rPr>
              <a:t>的生活</a:t>
            </a: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服务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、</a:t>
            </a: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在线</a:t>
            </a:r>
            <a:r>
              <a:rPr lang="zh-CN" altLang="zh-CN" sz="1400" dirty="0">
                <a:solidFill>
                  <a:prstClr val="black"/>
                </a:solidFill>
                <a:latin typeface="微软雅黑" pitchFamily="34" charset="-122"/>
              </a:rPr>
              <a:t>完成服务办理和</a:t>
            </a:r>
            <a:r>
              <a:rPr lang="zh-CN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操作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</a:endParaRPr>
          </a:p>
        </p:txBody>
      </p:sp>
      <p:sp>
        <p:nvSpPr>
          <p:cNvPr id="12" name="矩形 1"/>
          <p:cNvSpPr>
            <a:spLocks noChangeArrowheads="1"/>
          </p:cNvSpPr>
          <p:nvPr/>
        </p:nvSpPr>
        <p:spPr bwMode="auto">
          <a:xfrm>
            <a:off x="327132" y="2516168"/>
            <a:ext cx="2721756" cy="149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核心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功能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邮件到达通知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WEB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、</a:t>
            </a:r>
            <a:r>
              <a:rPr lang="en-US" altLang="zh-CN" sz="1400" dirty="0">
                <a:solidFill>
                  <a:prstClr val="black"/>
                </a:solidFill>
                <a:latin typeface="微软雅黑" pitchFamily="34" charset="-122"/>
              </a:rPr>
              <a:t>WAP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、短彩信、</a:t>
            </a:r>
            <a:r>
              <a:rPr lang="en-US" altLang="zh-CN" sz="1400" dirty="0" err="1">
                <a:solidFill>
                  <a:prstClr val="black"/>
                </a:solidFill>
                <a:latin typeface="微软雅黑" pitchFamily="34" charset="-122"/>
              </a:rPr>
              <a:t>PushEmail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多种方式收发邮件</a:t>
            </a:r>
            <a:endParaRPr lang="en-US" altLang="zh-CN" sz="1400" dirty="0">
              <a:solidFill>
                <a:prstClr val="black"/>
              </a:solidFill>
              <a:latin typeface="微软雅黑" pitchFamily="34" charset="-122"/>
            </a:endParaRPr>
          </a:p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可发送最大为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itchFamily="34" charset="-122"/>
              </a:rPr>
              <a:t>4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itchFamily="34" charset="-122"/>
              </a:rPr>
              <a:t>Ｇ的</a:t>
            </a:r>
            <a:r>
              <a:rPr lang="zh-CN" altLang="en-US" sz="1400" dirty="0">
                <a:solidFill>
                  <a:prstClr val="black"/>
                </a:solidFill>
                <a:latin typeface="微软雅黑" pitchFamily="34" charset="-122"/>
              </a:rPr>
              <a:t>超大附件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13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" r="7053" b="23033"/>
          <a:stretch>
            <a:fillRect/>
          </a:stretch>
        </p:blipFill>
        <p:spPr bwMode="auto">
          <a:xfrm>
            <a:off x="3000631" y="4773489"/>
            <a:ext cx="2692571" cy="153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359" y="4418781"/>
            <a:ext cx="1911412" cy="2111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095" y="4140077"/>
            <a:ext cx="2571750" cy="1266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975" y="5052764"/>
            <a:ext cx="2792435" cy="1421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039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idx="4294967295"/>
          </p:nvPr>
        </p:nvSpPr>
        <p:spPr>
          <a:xfrm>
            <a:off x="411145" y="124251"/>
            <a:ext cx="7826375" cy="461962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spAutoFit/>
          </a:bodyPr>
          <a:lstStyle/>
          <a:p>
            <a:pPr algn="l" eaLnBrk="1" hangingPunct="1"/>
            <a:r>
              <a:rPr lang="en-US" altLang="zh-CN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2</a:t>
            </a:r>
            <a:r>
              <a:rPr lang="en-US" altLang="zh-CN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.4 </a:t>
            </a:r>
            <a:r>
              <a:rPr lang="zh-CN" altLang="en-US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和彩云</a:t>
            </a:r>
            <a:endParaRPr lang="zh-CN" altLang="en-US" sz="2400" b="1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240105" y="887313"/>
            <a:ext cx="8568951" cy="122413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1619250" indent="-180975" fontAlgn="base">
              <a:lnSpc>
                <a:spcPct val="130000"/>
              </a:lnSpc>
              <a:spcBef>
                <a:spcPct val="0"/>
              </a:spcBef>
              <a:spcAft>
                <a:spcPts val="300"/>
              </a:spcAft>
              <a:buClr>
                <a:prstClr val="black"/>
              </a:buClr>
              <a:buFont typeface="Arial" pitchFamily="34" charset="0"/>
              <a:buChar char="•"/>
              <a:tabLst>
                <a:tab pos="1619250" algn="l"/>
              </a:tabLst>
              <a:defRPr/>
            </a:pPr>
            <a:r>
              <a:rPr lang="zh-CN" altLang="en-US" sz="28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zh-CN" altLang="en-US" sz="2800" b="1" dirty="0">
                <a:solidFill>
                  <a:srgbClr val="FF0066"/>
                </a:solidFill>
                <a:latin typeface="Arial" charset="0"/>
              </a:rPr>
              <a:t> </a:t>
            </a:r>
            <a:r>
              <a:rPr lang="zh-CN" altLang="en-US" sz="2800" b="1" dirty="0">
                <a:solidFill>
                  <a:srgbClr val="E40077"/>
                </a:solidFill>
                <a:latin typeface="Arial" charset="0"/>
              </a:rPr>
              <a:t>和彩云  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为用户提供跨终端、跨平台的备份、同步分享、协同等核心云服务，是用户信息资产的</a:t>
            </a:r>
            <a:r>
              <a:rPr lang="zh-CN" altLang="en-US" b="1" dirty="0">
                <a:solidFill>
                  <a:srgbClr val="E40077"/>
                </a:solidFill>
                <a:latin typeface="Arial" charset="0"/>
              </a:rPr>
              <a:t>集中化存储和管理中心</a:t>
            </a:r>
            <a:endParaRPr lang="en-US" altLang="zh-CN" b="1" dirty="0">
              <a:solidFill>
                <a:srgbClr val="E40077"/>
              </a:solidFill>
              <a:latin typeface="Arial" charset="0"/>
            </a:endParaRPr>
          </a:p>
        </p:txBody>
      </p:sp>
      <p:sp>
        <p:nvSpPr>
          <p:cNvPr id="14" name="矩形 1"/>
          <p:cNvSpPr>
            <a:spLocks noChangeArrowheads="1"/>
          </p:cNvSpPr>
          <p:nvPr/>
        </p:nvSpPr>
        <p:spPr bwMode="auto">
          <a:xfrm>
            <a:off x="3336449" y="2505769"/>
            <a:ext cx="2471102" cy="1585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一键换机</a:t>
            </a:r>
            <a:endParaRPr lang="en-US" altLang="zh-CN" sz="1600" b="1" dirty="0" smtClean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结合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4G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，打造”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4G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换机不换号，彩云换机没烦恼”的特色功能”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15" name="矩形 1"/>
          <p:cNvSpPr>
            <a:spLocks noChangeArrowheads="1"/>
          </p:cNvSpPr>
          <p:nvPr/>
        </p:nvSpPr>
        <p:spPr bwMode="auto">
          <a:xfrm>
            <a:off x="6072752" y="2505769"/>
            <a:ext cx="2736304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开放合作</a:t>
            </a:r>
            <a:endParaRPr lang="en-US" altLang="zh-CN" sz="2000" b="1" dirty="0" smtClean="0">
              <a:solidFill>
                <a:srgbClr val="FF0000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彩云由“工具依赖”成为“生活依赖”，为用户数字资产的管理、流动和增值提供稳定、贴心的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服务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sp>
        <p:nvSpPr>
          <p:cNvPr id="16" name="矩形 1"/>
          <p:cNvSpPr>
            <a:spLocks noChangeArrowheads="1"/>
          </p:cNvSpPr>
          <p:nvPr/>
        </p:nvSpPr>
        <p:spPr bwMode="auto">
          <a:xfrm>
            <a:off x="302910" y="2505769"/>
            <a:ext cx="2721756" cy="403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pitchFamily="34" charset="-122"/>
              </a:rPr>
              <a:t>核心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</a:rPr>
              <a:t>功能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云端文件管理：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上传、下载、存储、在线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浏览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分享</a:t>
            </a: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：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文件外链分享、文件点对点分享</a:t>
            </a: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同步和备份：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文件多目录同步、通信录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同步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安全：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短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信密码登录、传输加密、存储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加密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开放</a:t>
            </a:r>
            <a:r>
              <a: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</a:rPr>
              <a:t>：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</a:rPr>
              <a:t>SDK/API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</a:rPr>
              <a:t>能力开放，提供彩云存储能力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29" name="Picture 1"/>
          <p:cNvPicPr>
            <a:picLocks noChangeArrowheads="1"/>
          </p:cNvPicPr>
          <p:nvPr/>
        </p:nvPicPr>
        <p:blipFill>
          <a:blip r:embed="rId3" cstate="print"/>
          <a:srcRect t="5676" r="66321"/>
          <a:stretch>
            <a:fillRect/>
          </a:stretch>
        </p:blipFill>
        <p:spPr bwMode="auto">
          <a:xfrm>
            <a:off x="396646" y="936673"/>
            <a:ext cx="1139603" cy="1081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08457" y="4258369"/>
            <a:ext cx="1143008" cy="20660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04601" y="4258369"/>
            <a:ext cx="1147590" cy="20717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2" name="椭圆 36"/>
          <p:cNvSpPr/>
          <p:nvPr/>
        </p:nvSpPr>
        <p:spPr bwMode="auto">
          <a:xfrm>
            <a:off x="6186405" y="5812058"/>
            <a:ext cx="2838676" cy="60333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>
                <a:lumMod val="95000"/>
              </a:schemeClr>
            </a:solidFill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43" name="任意多边形 37"/>
          <p:cNvSpPr>
            <a:spLocks/>
          </p:cNvSpPr>
          <p:nvPr/>
        </p:nvSpPr>
        <p:spPr bwMode="auto">
          <a:xfrm>
            <a:off x="7787758" y="5003514"/>
            <a:ext cx="1113014" cy="463761"/>
          </a:xfrm>
          <a:custGeom>
            <a:avLst/>
            <a:gdLst>
              <a:gd name="T0" fmla="*/ 2147483647 w 20084"/>
              <a:gd name="T1" fmla="*/ 2147483647 h 19336"/>
              <a:gd name="T2" fmla="*/ 2147483647 w 20084"/>
              <a:gd name="T3" fmla="*/ 2147483647 h 19336"/>
              <a:gd name="T4" fmla="*/ 2147483647 w 20084"/>
              <a:gd name="T5" fmla="*/ 2147483647 h 19336"/>
              <a:gd name="T6" fmla="*/ 2147483647 w 20084"/>
              <a:gd name="T7" fmla="*/ 2147483647 h 19336"/>
              <a:gd name="T8" fmla="*/ 2147483647 w 20084"/>
              <a:gd name="T9" fmla="*/ 2147483647 h 19336"/>
              <a:gd name="T10" fmla="*/ 2147483647 w 20084"/>
              <a:gd name="T11" fmla="*/ 2147483647 h 19336"/>
              <a:gd name="T12" fmla="*/ 2147483647 w 20084"/>
              <a:gd name="T13" fmla="*/ 2147483647 h 19336"/>
              <a:gd name="T14" fmla="*/ 2147483647 w 20084"/>
              <a:gd name="T15" fmla="*/ 2147483647 h 19336"/>
              <a:gd name="T16" fmla="*/ 2147483647 w 20084"/>
              <a:gd name="T17" fmla="*/ 2147483647 h 19336"/>
              <a:gd name="T18" fmla="*/ 2147483647 w 20084"/>
              <a:gd name="T19" fmla="*/ 2147483647 h 19336"/>
              <a:gd name="T20" fmla="*/ 2147483647 w 20084"/>
              <a:gd name="T21" fmla="*/ 2147483647 h 19336"/>
              <a:gd name="T22" fmla="*/ 2147483647 w 20084"/>
              <a:gd name="T23" fmla="*/ 2147483647 h 19336"/>
              <a:gd name="T24" fmla="*/ 2147483647 w 20084"/>
              <a:gd name="T25" fmla="*/ 2147483647 h 193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84"/>
              <a:gd name="T40" fmla="*/ 0 h 19336"/>
              <a:gd name="T41" fmla="*/ 20084 w 20084"/>
              <a:gd name="T42" fmla="*/ 19336 h 193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84" h="19336">
                <a:moveTo>
                  <a:pt x="9677" y="18051"/>
                </a:moveTo>
                <a:cubicBezTo>
                  <a:pt x="8651" y="20198"/>
                  <a:pt x="5644" y="19346"/>
                  <a:pt x="5119" y="16825"/>
                </a:cubicBezTo>
                <a:cubicBezTo>
                  <a:pt x="3758" y="17915"/>
                  <a:pt x="-132" y="15190"/>
                  <a:pt x="1276" y="11510"/>
                </a:cubicBezTo>
                <a:cubicBezTo>
                  <a:pt x="-1039" y="10420"/>
                  <a:pt x="35" y="5309"/>
                  <a:pt x="2589" y="6468"/>
                </a:cubicBezTo>
                <a:cubicBezTo>
                  <a:pt x="2064" y="4696"/>
                  <a:pt x="3925" y="3504"/>
                  <a:pt x="5071" y="4424"/>
                </a:cubicBezTo>
                <a:cubicBezTo>
                  <a:pt x="4832" y="2550"/>
                  <a:pt x="6121" y="983"/>
                  <a:pt x="7983" y="1868"/>
                </a:cubicBezTo>
                <a:cubicBezTo>
                  <a:pt x="8126" y="63"/>
                  <a:pt x="10250" y="-448"/>
                  <a:pt x="10919" y="1187"/>
                </a:cubicBezTo>
                <a:cubicBezTo>
                  <a:pt x="12661" y="-1300"/>
                  <a:pt x="16217" y="472"/>
                  <a:pt x="16551" y="3265"/>
                </a:cubicBezTo>
                <a:cubicBezTo>
                  <a:pt x="18365" y="2414"/>
                  <a:pt x="19630" y="5889"/>
                  <a:pt x="18699" y="7728"/>
                </a:cubicBezTo>
                <a:cubicBezTo>
                  <a:pt x="20513" y="8648"/>
                  <a:pt x="20561" y="11919"/>
                  <a:pt x="18747" y="12634"/>
                </a:cubicBezTo>
                <a:cubicBezTo>
                  <a:pt x="19296" y="14815"/>
                  <a:pt x="16599" y="17472"/>
                  <a:pt x="15000" y="16484"/>
                </a:cubicBezTo>
                <a:cubicBezTo>
                  <a:pt x="14976" y="19482"/>
                  <a:pt x="10942" y="20300"/>
                  <a:pt x="9677" y="18051"/>
                </a:cubicBezTo>
                <a:close/>
                <a:moveTo>
                  <a:pt x="9677" y="18051"/>
                </a:moveTo>
              </a:path>
            </a:pathLst>
          </a:cu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  <a:headEnd/>
            <a:tailEnd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4" name="任意多边形 37"/>
          <p:cNvSpPr>
            <a:spLocks/>
          </p:cNvSpPr>
          <p:nvPr/>
        </p:nvSpPr>
        <p:spPr bwMode="auto">
          <a:xfrm>
            <a:off x="7021181" y="4553513"/>
            <a:ext cx="1113014" cy="474910"/>
          </a:xfrm>
          <a:custGeom>
            <a:avLst/>
            <a:gdLst>
              <a:gd name="T0" fmla="*/ 2147483647 w 20084"/>
              <a:gd name="T1" fmla="*/ 2147483647 h 19336"/>
              <a:gd name="T2" fmla="*/ 2147483647 w 20084"/>
              <a:gd name="T3" fmla="*/ 2147483647 h 19336"/>
              <a:gd name="T4" fmla="*/ 2147483647 w 20084"/>
              <a:gd name="T5" fmla="*/ 2147483647 h 19336"/>
              <a:gd name="T6" fmla="*/ 2147483647 w 20084"/>
              <a:gd name="T7" fmla="*/ 2147483647 h 19336"/>
              <a:gd name="T8" fmla="*/ 2147483647 w 20084"/>
              <a:gd name="T9" fmla="*/ 2147483647 h 19336"/>
              <a:gd name="T10" fmla="*/ 2147483647 w 20084"/>
              <a:gd name="T11" fmla="*/ 2147483647 h 19336"/>
              <a:gd name="T12" fmla="*/ 2147483647 w 20084"/>
              <a:gd name="T13" fmla="*/ 2147483647 h 19336"/>
              <a:gd name="T14" fmla="*/ 2147483647 w 20084"/>
              <a:gd name="T15" fmla="*/ 2147483647 h 19336"/>
              <a:gd name="T16" fmla="*/ 2147483647 w 20084"/>
              <a:gd name="T17" fmla="*/ 2147483647 h 19336"/>
              <a:gd name="T18" fmla="*/ 2147483647 w 20084"/>
              <a:gd name="T19" fmla="*/ 2147483647 h 19336"/>
              <a:gd name="T20" fmla="*/ 2147483647 w 20084"/>
              <a:gd name="T21" fmla="*/ 2147483647 h 19336"/>
              <a:gd name="T22" fmla="*/ 2147483647 w 20084"/>
              <a:gd name="T23" fmla="*/ 2147483647 h 19336"/>
              <a:gd name="T24" fmla="*/ 2147483647 w 20084"/>
              <a:gd name="T25" fmla="*/ 2147483647 h 193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84"/>
              <a:gd name="T40" fmla="*/ 0 h 19336"/>
              <a:gd name="T41" fmla="*/ 20084 w 20084"/>
              <a:gd name="T42" fmla="*/ 19336 h 193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84" h="19336">
                <a:moveTo>
                  <a:pt x="9677" y="18051"/>
                </a:moveTo>
                <a:cubicBezTo>
                  <a:pt x="8651" y="20198"/>
                  <a:pt x="5644" y="19346"/>
                  <a:pt x="5119" y="16825"/>
                </a:cubicBezTo>
                <a:cubicBezTo>
                  <a:pt x="3758" y="17915"/>
                  <a:pt x="-132" y="15190"/>
                  <a:pt x="1276" y="11510"/>
                </a:cubicBezTo>
                <a:cubicBezTo>
                  <a:pt x="-1039" y="10420"/>
                  <a:pt x="35" y="5309"/>
                  <a:pt x="2589" y="6468"/>
                </a:cubicBezTo>
                <a:cubicBezTo>
                  <a:pt x="2064" y="4696"/>
                  <a:pt x="3925" y="3504"/>
                  <a:pt x="5071" y="4424"/>
                </a:cubicBezTo>
                <a:cubicBezTo>
                  <a:pt x="4832" y="2550"/>
                  <a:pt x="6121" y="983"/>
                  <a:pt x="7983" y="1868"/>
                </a:cubicBezTo>
                <a:cubicBezTo>
                  <a:pt x="8126" y="63"/>
                  <a:pt x="10250" y="-448"/>
                  <a:pt x="10919" y="1187"/>
                </a:cubicBezTo>
                <a:cubicBezTo>
                  <a:pt x="12661" y="-1300"/>
                  <a:pt x="16217" y="472"/>
                  <a:pt x="16551" y="3265"/>
                </a:cubicBezTo>
                <a:cubicBezTo>
                  <a:pt x="18365" y="2414"/>
                  <a:pt x="19630" y="5889"/>
                  <a:pt x="18699" y="7728"/>
                </a:cubicBezTo>
                <a:cubicBezTo>
                  <a:pt x="20513" y="8648"/>
                  <a:pt x="20561" y="11919"/>
                  <a:pt x="18747" y="12634"/>
                </a:cubicBezTo>
                <a:cubicBezTo>
                  <a:pt x="19296" y="14815"/>
                  <a:pt x="16599" y="17472"/>
                  <a:pt x="15000" y="16484"/>
                </a:cubicBezTo>
                <a:cubicBezTo>
                  <a:pt x="14976" y="19482"/>
                  <a:pt x="10942" y="20300"/>
                  <a:pt x="9677" y="18051"/>
                </a:cubicBezTo>
                <a:close/>
                <a:moveTo>
                  <a:pt x="9677" y="18051"/>
                </a:moveTo>
              </a:path>
            </a:pathLst>
          </a:cu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  <a:headEnd/>
            <a:tailEnd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5" name="任意多边形 37"/>
          <p:cNvSpPr>
            <a:spLocks/>
          </p:cNvSpPr>
          <p:nvPr/>
        </p:nvSpPr>
        <p:spPr bwMode="auto">
          <a:xfrm>
            <a:off x="6005327" y="5063777"/>
            <a:ext cx="1213925" cy="467080"/>
          </a:xfrm>
          <a:custGeom>
            <a:avLst/>
            <a:gdLst>
              <a:gd name="T0" fmla="*/ 2147483647 w 20084"/>
              <a:gd name="T1" fmla="*/ 2147483647 h 19336"/>
              <a:gd name="T2" fmla="*/ 2147483647 w 20084"/>
              <a:gd name="T3" fmla="*/ 2147483647 h 19336"/>
              <a:gd name="T4" fmla="*/ 2147483647 w 20084"/>
              <a:gd name="T5" fmla="*/ 2147483647 h 19336"/>
              <a:gd name="T6" fmla="*/ 2147483647 w 20084"/>
              <a:gd name="T7" fmla="*/ 2147483647 h 19336"/>
              <a:gd name="T8" fmla="*/ 2147483647 w 20084"/>
              <a:gd name="T9" fmla="*/ 2147483647 h 19336"/>
              <a:gd name="T10" fmla="*/ 2147483647 w 20084"/>
              <a:gd name="T11" fmla="*/ 2147483647 h 19336"/>
              <a:gd name="T12" fmla="*/ 2147483647 w 20084"/>
              <a:gd name="T13" fmla="*/ 2147483647 h 19336"/>
              <a:gd name="T14" fmla="*/ 2147483647 w 20084"/>
              <a:gd name="T15" fmla="*/ 2147483647 h 19336"/>
              <a:gd name="T16" fmla="*/ 2147483647 w 20084"/>
              <a:gd name="T17" fmla="*/ 2147483647 h 19336"/>
              <a:gd name="T18" fmla="*/ 2147483647 w 20084"/>
              <a:gd name="T19" fmla="*/ 2147483647 h 19336"/>
              <a:gd name="T20" fmla="*/ 2147483647 w 20084"/>
              <a:gd name="T21" fmla="*/ 2147483647 h 19336"/>
              <a:gd name="T22" fmla="*/ 2147483647 w 20084"/>
              <a:gd name="T23" fmla="*/ 2147483647 h 19336"/>
              <a:gd name="T24" fmla="*/ 2147483647 w 20084"/>
              <a:gd name="T25" fmla="*/ 2147483647 h 193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84"/>
              <a:gd name="T40" fmla="*/ 0 h 19336"/>
              <a:gd name="T41" fmla="*/ 20084 w 20084"/>
              <a:gd name="T42" fmla="*/ 19336 h 193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84" h="19336">
                <a:moveTo>
                  <a:pt x="9677" y="18051"/>
                </a:moveTo>
                <a:cubicBezTo>
                  <a:pt x="8651" y="20198"/>
                  <a:pt x="5644" y="19346"/>
                  <a:pt x="5119" y="16825"/>
                </a:cubicBezTo>
                <a:cubicBezTo>
                  <a:pt x="3758" y="17915"/>
                  <a:pt x="-132" y="15190"/>
                  <a:pt x="1276" y="11510"/>
                </a:cubicBezTo>
                <a:cubicBezTo>
                  <a:pt x="-1039" y="10420"/>
                  <a:pt x="35" y="5309"/>
                  <a:pt x="2589" y="6468"/>
                </a:cubicBezTo>
                <a:cubicBezTo>
                  <a:pt x="2064" y="4696"/>
                  <a:pt x="3925" y="3504"/>
                  <a:pt x="5071" y="4424"/>
                </a:cubicBezTo>
                <a:cubicBezTo>
                  <a:pt x="4832" y="2550"/>
                  <a:pt x="6121" y="983"/>
                  <a:pt x="7983" y="1868"/>
                </a:cubicBezTo>
                <a:cubicBezTo>
                  <a:pt x="8126" y="63"/>
                  <a:pt x="10250" y="-448"/>
                  <a:pt x="10919" y="1187"/>
                </a:cubicBezTo>
                <a:cubicBezTo>
                  <a:pt x="12661" y="-1300"/>
                  <a:pt x="16217" y="472"/>
                  <a:pt x="16551" y="3265"/>
                </a:cubicBezTo>
                <a:cubicBezTo>
                  <a:pt x="18365" y="2414"/>
                  <a:pt x="19630" y="5889"/>
                  <a:pt x="18699" y="7728"/>
                </a:cubicBezTo>
                <a:cubicBezTo>
                  <a:pt x="20513" y="8648"/>
                  <a:pt x="20561" y="11919"/>
                  <a:pt x="18747" y="12634"/>
                </a:cubicBezTo>
                <a:cubicBezTo>
                  <a:pt x="19296" y="14815"/>
                  <a:pt x="16599" y="17472"/>
                  <a:pt x="15000" y="16484"/>
                </a:cubicBezTo>
                <a:cubicBezTo>
                  <a:pt x="14976" y="19482"/>
                  <a:pt x="10942" y="20300"/>
                  <a:pt x="9677" y="18051"/>
                </a:cubicBezTo>
                <a:close/>
                <a:moveTo>
                  <a:pt x="9677" y="18051"/>
                </a:moveTo>
              </a:path>
            </a:pathLst>
          </a:cu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  <a:headEnd/>
            <a:tailEnd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46" name="TextBox 30"/>
          <p:cNvSpPr txBox="1"/>
          <p:nvPr/>
        </p:nvSpPr>
        <p:spPr>
          <a:xfrm>
            <a:off x="7237235" y="4679264"/>
            <a:ext cx="756829" cy="25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i="1" dirty="0">
                <a:solidFill>
                  <a:prstClr val="black"/>
                </a:solidFill>
              </a:rPr>
              <a:t>触点合作</a:t>
            </a:r>
            <a:endParaRPr lang="en-US" sz="1100" b="1" i="1" dirty="0">
              <a:solidFill>
                <a:prstClr val="black"/>
              </a:solidFill>
            </a:endParaRPr>
          </a:p>
        </p:txBody>
      </p:sp>
      <p:sp>
        <p:nvSpPr>
          <p:cNvPr id="47" name="TextBox 31"/>
          <p:cNvSpPr txBox="1"/>
          <p:nvPr/>
        </p:nvSpPr>
        <p:spPr>
          <a:xfrm>
            <a:off x="5925293" y="5173248"/>
            <a:ext cx="1351645" cy="275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i="1" dirty="0">
                <a:solidFill>
                  <a:prstClr val="black"/>
                </a:solidFill>
              </a:rPr>
              <a:t>终端内置与预装</a:t>
            </a:r>
            <a:endParaRPr lang="en-US" sz="1200" b="1" i="1" dirty="0">
              <a:solidFill>
                <a:prstClr val="black"/>
              </a:solidFill>
            </a:endParaRPr>
          </a:p>
        </p:txBody>
      </p:sp>
      <p:sp>
        <p:nvSpPr>
          <p:cNvPr id="48" name="TextBox 32"/>
          <p:cNvSpPr txBox="1"/>
          <p:nvPr/>
        </p:nvSpPr>
        <p:spPr>
          <a:xfrm>
            <a:off x="7873365" y="5101810"/>
            <a:ext cx="944164" cy="275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i="1" dirty="0">
                <a:solidFill>
                  <a:prstClr val="black"/>
                </a:solidFill>
              </a:rPr>
              <a:t>垂直应用</a:t>
            </a:r>
            <a:endParaRPr lang="en-US" sz="1200" b="1" i="1" dirty="0">
              <a:solidFill>
                <a:prstClr val="black"/>
              </a:solidFill>
            </a:endParaRPr>
          </a:p>
        </p:txBody>
      </p:sp>
      <p:sp>
        <p:nvSpPr>
          <p:cNvPr id="49" name="任意多边形 37"/>
          <p:cNvSpPr>
            <a:spLocks/>
          </p:cNvSpPr>
          <p:nvPr/>
        </p:nvSpPr>
        <p:spPr bwMode="auto">
          <a:xfrm>
            <a:off x="7010847" y="5444976"/>
            <a:ext cx="1113014" cy="463761"/>
          </a:xfrm>
          <a:custGeom>
            <a:avLst/>
            <a:gdLst>
              <a:gd name="T0" fmla="*/ 2147483647 w 20084"/>
              <a:gd name="T1" fmla="*/ 2147483647 h 19336"/>
              <a:gd name="T2" fmla="*/ 2147483647 w 20084"/>
              <a:gd name="T3" fmla="*/ 2147483647 h 19336"/>
              <a:gd name="T4" fmla="*/ 2147483647 w 20084"/>
              <a:gd name="T5" fmla="*/ 2147483647 h 19336"/>
              <a:gd name="T6" fmla="*/ 2147483647 w 20084"/>
              <a:gd name="T7" fmla="*/ 2147483647 h 19336"/>
              <a:gd name="T8" fmla="*/ 2147483647 w 20084"/>
              <a:gd name="T9" fmla="*/ 2147483647 h 19336"/>
              <a:gd name="T10" fmla="*/ 2147483647 w 20084"/>
              <a:gd name="T11" fmla="*/ 2147483647 h 19336"/>
              <a:gd name="T12" fmla="*/ 2147483647 w 20084"/>
              <a:gd name="T13" fmla="*/ 2147483647 h 19336"/>
              <a:gd name="T14" fmla="*/ 2147483647 w 20084"/>
              <a:gd name="T15" fmla="*/ 2147483647 h 19336"/>
              <a:gd name="T16" fmla="*/ 2147483647 w 20084"/>
              <a:gd name="T17" fmla="*/ 2147483647 h 19336"/>
              <a:gd name="T18" fmla="*/ 2147483647 w 20084"/>
              <a:gd name="T19" fmla="*/ 2147483647 h 19336"/>
              <a:gd name="T20" fmla="*/ 2147483647 w 20084"/>
              <a:gd name="T21" fmla="*/ 2147483647 h 19336"/>
              <a:gd name="T22" fmla="*/ 2147483647 w 20084"/>
              <a:gd name="T23" fmla="*/ 2147483647 h 19336"/>
              <a:gd name="T24" fmla="*/ 2147483647 w 20084"/>
              <a:gd name="T25" fmla="*/ 2147483647 h 193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84"/>
              <a:gd name="T40" fmla="*/ 0 h 19336"/>
              <a:gd name="T41" fmla="*/ 20084 w 20084"/>
              <a:gd name="T42" fmla="*/ 19336 h 193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84" h="19336">
                <a:moveTo>
                  <a:pt x="9677" y="18051"/>
                </a:moveTo>
                <a:cubicBezTo>
                  <a:pt x="8651" y="20198"/>
                  <a:pt x="5644" y="19346"/>
                  <a:pt x="5119" y="16825"/>
                </a:cubicBezTo>
                <a:cubicBezTo>
                  <a:pt x="3758" y="17915"/>
                  <a:pt x="-132" y="15190"/>
                  <a:pt x="1276" y="11510"/>
                </a:cubicBezTo>
                <a:cubicBezTo>
                  <a:pt x="-1039" y="10420"/>
                  <a:pt x="35" y="5309"/>
                  <a:pt x="2589" y="6468"/>
                </a:cubicBezTo>
                <a:cubicBezTo>
                  <a:pt x="2064" y="4696"/>
                  <a:pt x="3925" y="3504"/>
                  <a:pt x="5071" y="4424"/>
                </a:cubicBezTo>
                <a:cubicBezTo>
                  <a:pt x="4832" y="2550"/>
                  <a:pt x="6121" y="983"/>
                  <a:pt x="7983" y="1868"/>
                </a:cubicBezTo>
                <a:cubicBezTo>
                  <a:pt x="8126" y="63"/>
                  <a:pt x="10250" y="-448"/>
                  <a:pt x="10919" y="1187"/>
                </a:cubicBezTo>
                <a:cubicBezTo>
                  <a:pt x="12661" y="-1300"/>
                  <a:pt x="16217" y="472"/>
                  <a:pt x="16551" y="3265"/>
                </a:cubicBezTo>
                <a:cubicBezTo>
                  <a:pt x="18365" y="2414"/>
                  <a:pt x="19630" y="5889"/>
                  <a:pt x="18699" y="7728"/>
                </a:cubicBezTo>
                <a:cubicBezTo>
                  <a:pt x="20513" y="8648"/>
                  <a:pt x="20561" y="11919"/>
                  <a:pt x="18747" y="12634"/>
                </a:cubicBezTo>
                <a:cubicBezTo>
                  <a:pt x="19296" y="14815"/>
                  <a:pt x="16599" y="17472"/>
                  <a:pt x="15000" y="16484"/>
                </a:cubicBezTo>
                <a:cubicBezTo>
                  <a:pt x="14976" y="19482"/>
                  <a:pt x="10942" y="20300"/>
                  <a:pt x="9677" y="18051"/>
                </a:cubicBezTo>
                <a:close/>
                <a:moveTo>
                  <a:pt x="9677" y="18051"/>
                </a:moveTo>
              </a:path>
            </a:pathLst>
          </a:cu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  <a:headEnd/>
            <a:tailEnd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zh-CN" altLang="en-US" sz="1200" kern="0">
              <a:solidFill>
                <a:sysClr val="windowText" lastClr="000000"/>
              </a:solidFill>
            </a:endParaRPr>
          </a:p>
        </p:txBody>
      </p:sp>
      <p:sp>
        <p:nvSpPr>
          <p:cNvPr id="50" name="TextBox 35"/>
          <p:cNvSpPr txBox="1"/>
          <p:nvPr/>
        </p:nvSpPr>
        <p:spPr>
          <a:xfrm>
            <a:off x="7096454" y="5570138"/>
            <a:ext cx="944164" cy="458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i="1" dirty="0">
                <a:solidFill>
                  <a:prstClr val="black"/>
                </a:solidFill>
              </a:rPr>
              <a:t>开放平台</a:t>
            </a:r>
            <a:endParaRPr lang="en-US" altLang="zh-CN" sz="1200" b="1" i="1" dirty="0">
              <a:solidFill>
                <a:prstClr val="black"/>
              </a:solidFill>
            </a:endParaRPr>
          </a:p>
          <a:p>
            <a:pPr algn="ctr"/>
            <a:endParaRPr lang="en-US" sz="1200" b="1" i="1" dirty="0">
              <a:solidFill>
                <a:prstClr val="black"/>
              </a:solidFill>
            </a:endParaRPr>
          </a:p>
        </p:txBody>
      </p:sp>
      <p:sp>
        <p:nvSpPr>
          <p:cNvPr id="51" name="Oval 2"/>
          <p:cNvSpPr/>
          <p:nvPr/>
        </p:nvSpPr>
        <p:spPr bwMode="auto">
          <a:xfrm>
            <a:off x="7152063" y="4988831"/>
            <a:ext cx="839256" cy="468220"/>
          </a:xfrm>
          <a:prstGeom prst="ellipse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Font typeface="Wingdings" pitchFamily="2" charset="2"/>
              <a:buChar char="n"/>
            </a:pPr>
            <a:endParaRPr lang="en-US" sz="1050">
              <a:solidFill>
                <a:prstClr val="black"/>
              </a:solidFill>
            </a:endParaRPr>
          </a:p>
        </p:txBody>
      </p:sp>
      <p:sp>
        <p:nvSpPr>
          <p:cNvPr id="52" name="TextBox 37"/>
          <p:cNvSpPr txBox="1"/>
          <p:nvPr/>
        </p:nvSpPr>
        <p:spPr>
          <a:xfrm>
            <a:off x="7166487" y="5098703"/>
            <a:ext cx="807284" cy="3361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sz="1600" b="1" i="1" dirty="0">
                <a:solidFill>
                  <a:prstClr val="black"/>
                </a:solidFill>
              </a:rPr>
              <a:t>彩云系</a:t>
            </a:r>
            <a:endParaRPr lang="en-US" sz="1600" b="1" i="1" dirty="0">
              <a:solidFill>
                <a:prstClr val="black"/>
              </a:solidFill>
            </a:endParaRPr>
          </a:p>
        </p:txBody>
      </p:sp>
      <p:sp>
        <p:nvSpPr>
          <p:cNvPr id="53" name="矩形 38"/>
          <p:cNvSpPr/>
          <p:nvPr/>
        </p:nvSpPr>
        <p:spPr>
          <a:xfrm>
            <a:off x="6539300" y="5957117"/>
            <a:ext cx="20932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CC9900"/>
              </a:buClr>
            </a:pPr>
            <a:r>
              <a:rPr lang="zh-CN" altLang="en-US" sz="2000" b="1" dirty="0">
                <a:solidFill>
                  <a:prstClr val="white"/>
                </a:solidFill>
              </a:rPr>
              <a:t>数字资产中心</a:t>
            </a:r>
            <a:endParaRPr lang="en-US" altLang="zh-CN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07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2"/>
          <p:cNvSpPr>
            <a:spLocks noGrp="1"/>
          </p:cNvSpPr>
          <p:nvPr>
            <p:ph type="title" idx="4294967295"/>
          </p:nvPr>
        </p:nvSpPr>
        <p:spPr>
          <a:xfrm>
            <a:off x="394533" y="145665"/>
            <a:ext cx="7826375" cy="461962"/>
          </a:xfrm>
          <a:prstGeom prst="rect">
            <a:avLst/>
          </a:prstGeom>
          <a:noFill/>
          <a:ln>
            <a:noFill/>
          </a:ln>
        </p:spPr>
        <p:txBody>
          <a:bodyPr lIns="0" rIns="0" anchor="ctr">
            <a:spAutoFit/>
          </a:bodyPr>
          <a:lstStyle/>
          <a:p>
            <a:pPr algn="l" eaLnBrk="1" hangingPunct="1"/>
            <a:r>
              <a:rPr lang="en-US" altLang="zh-CN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2.5 </a:t>
            </a:r>
            <a:r>
              <a:rPr lang="zh-CN" altLang="en-US" sz="2400" b="1" dirty="0" smtClean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和通讯录</a:t>
            </a:r>
            <a:endParaRPr lang="zh-CN" altLang="en-US" sz="2400" b="1" dirty="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157287" y="900161"/>
            <a:ext cx="8686800" cy="1224136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54000" tIns="54000" rIns="54000" bIns="54000" anchor="ctr"/>
          <a:lstStyle/>
          <a:p>
            <a:pPr marL="1619250" indent="-180975" fontAlgn="base">
              <a:lnSpc>
                <a:spcPct val="130000"/>
              </a:lnSpc>
              <a:spcBef>
                <a:spcPct val="0"/>
              </a:spcBef>
              <a:spcAft>
                <a:spcPts val="300"/>
              </a:spcAft>
              <a:buClr>
                <a:prstClr val="black"/>
              </a:buClr>
              <a:buFont typeface="Arial" pitchFamily="34" charset="0"/>
              <a:buChar char="•"/>
              <a:tabLst>
                <a:tab pos="1619250" algn="l"/>
              </a:tabLst>
              <a:defRPr/>
            </a:pPr>
            <a:r>
              <a:rPr lang="zh-CN" altLang="en-US" sz="2800" b="1" dirty="0">
                <a:solidFill>
                  <a:srgbClr val="FF0066"/>
                </a:solidFill>
                <a:latin typeface="Arial" charset="0"/>
              </a:rPr>
              <a:t>  </a:t>
            </a:r>
            <a:r>
              <a:rPr lang="zh-CN" altLang="en-US" sz="2800" b="1" dirty="0">
                <a:solidFill>
                  <a:srgbClr val="ED0281"/>
                </a:solidFill>
              </a:rPr>
              <a:t>和通讯录   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第</a:t>
            </a:r>
            <a:r>
              <a:rPr lang="en-US" altLang="zh-CN" b="1" dirty="0">
                <a:solidFill>
                  <a:prstClr val="black"/>
                </a:solidFill>
                <a:latin typeface="Arial" charset="0"/>
              </a:rPr>
              <a:t>4</a:t>
            </a:r>
            <a:r>
              <a:rPr lang="zh-CN" altLang="en-US" b="1" dirty="0">
                <a:solidFill>
                  <a:prstClr val="black"/>
                </a:solidFill>
                <a:latin typeface="Arial" charset="0"/>
              </a:rPr>
              <a:t>代创新通讯录应用，以联系人存储及管理为基础，紧密结合中移动特有的通讯增强能力，打造用户的</a:t>
            </a:r>
            <a:r>
              <a:rPr lang="zh-CN" altLang="en-US" b="1" dirty="0">
                <a:solidFill>
                  <a:srgbClr val="ED0281"/>
                </a:solidFill>
              </a:rPr>
              <a:t>统一通信生活中心</a:t>
            </a:r>
            <a:endParaRPr lang="en-US" altLang="zh-CN" b="1" dirty="0">
              <a:solidFill>
                <a:srgbClr val="ED0281"/>
              </a:solidFill>
            </a:endParaRPr>
          </a:p>
        </p:txBody>
      </p:sp>
      <p:sp>
        <p:nvSpPr>
          <p:cNvPr id="24" name="矩形 3"/>
          <p:cNvSpPr>
            <a:spLocks noChangeArrowheads="1"/>
          </p:cNvSpPr>
          <p:nvPr/>
        </p:nvSpPr>
        <p:spPr bwMode="auto">
          <a:xfrm>
            <a:off x="448750" y="2429227"/>
            <a:ext cx="2526762" cy="2123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7" tIns="45678" rIns="91357" bIns="45678">
            <a:spAutoFit/>
          </a:bodyPr>
          <a:lstStyle/>
          <a:p>
            <a:pPr algn="r" defTabSz="913565" eaLnBrk="0" hangingPunct="0">
              <a:lnSpc>
                <a:spcPct val="150000"/>
              </a:lnSpc>
              <a:defRPr/>
            </a:pPr>
            <a:r>
              <a:rPr lang="zh-CN" altLang="en-US" b="1" spc="240" dirty="0">
                <a:solidFill>
                  <a:srgbClr val="FF0000"/>
                </a:solidFill>
                <a:latin typeface="Century Gothic"/>
              </a:rPr>
              <a:t>搜索高效</a:t>
            </a:r>
            <a:endParaRPr kumimoji="1" lang="en-US" altLang="zh-CN" b="1" kern="0" dirty="0">
              <a:solidFill>
                <a:srgbClr val="FF0000"/>
              </a:solidFill>
              <a:sym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solidFill>
                  <a:prstClr val="black"/>
                </a:solidFill>
              </a:rPr>
              <a:t>全局搜索：</a:t>
            </a:r>
            <a:r>
              <a:rPr lang="zh-CN" altLang="en-US" sz="1400" dirty="0">
                <a:solidFill>
                  <a:prstClr val="black"/>
                </a:solidFill>
              </a:rPr>
              <a:t>支持常规</a:t>
            </a:r>
            <a:r>
              <a:rPr lang="en-US" altLang="zh-CN" sz="1400" dirty="0">
                <a:solidFill>
                  <a:prstClr val="black"/>
                </a:solidFill>
              </a:rPr>
              <a:t>T9</a:t>
            </a:r>
            <a:r>
              <a:rPr lang="zh-CN" altLang="en-US" sz="1400" dirty="0">
                <a:solidFill>
                  <a:prstClr val="black"/>
                </a:solidFill>
              </a:rPr>
              <a:t>搜索及公司、昵称、职位等信息查找联系人</a:t>
            </a: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solidFill>
                  <a:prstClr val="black"/>
                </a:solidFill>
              </a:rPr>
              <a:t>语音拨号：</a:t>
            </a:r>
            <a:r>
              <a:rPr lang="zh-CN" altLang="en-US" sz="1400" dirty="0">
                <a:solidFill>
                  <a:prstClr val="black"/>
                </a:solidFill>
              </a:rPr>
              <a:t>支持语音打电话、发短信</a:t>
            </a:r>
          </a:p>
        </p:txBody>
      </p:sp>
      <p:sp>
        <p:nvSpPr>
          <p:cNvPr id="25" name="矩形 3"/>
          <p:cNvSpPr>
            <a:spLocks noChangeArrowheads="1"/>
          </p:cNvSpPr>
          <p:nvPr/>
        </p:nvSpPr>
        <p:spPr bwMode="auto">
          <a:xfrm>
            <a:off x="456086" y="4562827"/>
            <a:ext cx="2519426" cy="180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7" tIns="45678" rIns="91357" bIns="45678">
            <a:spAutoFit/>
          </a:bodyPr>
          <a:lstStyle/>
          <a:p>
            <a:pPr algn="r" defTabSz="913565" eaLnBrk="0" hangingPunct="0">
              <a:lnSpc>
                <a:spcPct val="150000"/>
              </a:lnSpc>
              <a:defRPr/>
            </a:pPr>
            <a:r>
              <a:rPr lang="zh-CN" altLang="en-US" b="1" spc="240" dirty="0">
                <a:solidFill>
                  <a:srgbClr val="FF0000"/>
                </a:solidFill>
                <a:latin typeface="Century Gothic"/>
                <a:sym typeface="微软雅黑" pitchFamily="34" charset="-122"/>
              </a:rPr>
              <a:t>备份安全</a:t>
            </a:r>
            <a:endParaRPr lang="en-US" altLang="zh-CN" b="1" spc="240" dirty="0">
              <a:solidFill>
                <a:srgbClr val="FF0000"/>
              </a:solidFill>
              <a:latin typeface="Century Gothic"/>
              <a:sym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solidFill>
                  <a:prstClr val="black"/>
                </a:solidFill>
              </a:rPr>
              <a:t>即时同步：</a:t>
            </a:r>
            <a:r>
              <a:rPr lang="zh-CN" altLang="en-US" sz="1400" dirty="0">
                <a:solidFill>
                  <a:prstClr val="black"/>
                </a:solidFill>
              </a:rPr>
              <a:t>跨平台、多终端即时同步</a:t>
            </a: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solidFill>
                  <a:prstClr val="black"/>
                </a:solidFill>
              </a:rPr>
              <a:t>时光机：  </a:t>
            </a:r>
            <a:r>
              <a:rPr lang="zh-CN" altLang="en-US" sz="1400" dirty="0">
                <a:solidFill>
                  <a:prstClr val="black"/>
                </a:solidFill>
              </a:rPr>
              <a:t>随时恢复备份节点的记录数据</a:t>
            </a:r>
          </a:p>
        </p:txBody>
      </p:sp>
      <p:sp>
        <p:nvSpPr>
          <p:cNvPr id="26" name="矩形 3"/>
          <p:cNvSpPr>
            <a:spLocks noChangeArrowheads="1"/>
          </p:cNvSpPr>
          <p:nvPr/>
        </p:nvSpPr>
        <p:spPr bwMode="auto">
          <a:xfrm>
            <a:off x="6404512" y="2420888"/>
            <a:ext cx="2488663" cy="180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7" tIns="45678" rIns="91357" bIns="45678">
            <a:spAutoFit/>
          </a:bodyPr>
          <a:lstStyle/>
          <a:p>
            <a:pPr defTabSz="913565" eaLnBrk="0" hangingPunct="0">
              <a:lnSpc>
                <a:spcPct val="150000"/>
              </a:lnSpc>
              <a:defRPr/>
            </a:pPr>
            <a:r>
              <a:rPr kumimoji="1" lang="zh-CN" altLang="en-US" b="1" kern="0" dirty="0" smtClean="0">
                <a:solidFill>
                  <a:srgbClr val="FF0000"/>
                </a:solidFill>
                <a:sym typeface="微软雅黑" pitchFamily="34" charset="-122"/>
              </a:rPr>
              <a:t>通讯组件</a:t>
            </a:r>
            <a:endParaRPr kumimoji="1" lang="en-US" altLang="zh-CN" b="1" kern="0" dirty="0">
              <a:solidFill>
                <a:srgbClr val="FF0000"/>
              </a:solidFill>
              <a:sym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</a:rPr>
              <a:t>多方通话：</a:t>
            </a:r>
            <a:r>
              <a:rPr lang="zh-CN" altLang="en-US" sz="1400" dirty="0">
                <a:solidFill>
                  <a:prstClr val="black"/>
                </a:solidFill>
              </a:rPr>
              <a:t>手机客户端直接发起多方</a:t>
            </a:r>
            <a:r>
              <a:rPr lang="zh-CN" altLang="en-US" sz="1400" dirty="0" smtClean="0">
                <a:solidFill>
                  <a:prstClr val="black"/>
                </a:solidFill>
              </a:rPr>
              <a:t>通话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</a:rPr>
              <a:t>语音信箱：</a:t>
            </a:r>
            <a:r>
              <a:rPr lang="zh-CN" altLang="en-US" sz="1400" dirty="0" smtClean="0">
                <a:solidFill>
                  <a:prstClr val="black"/>
                </a:solidFill>
              </a:rPr>
              <a:t>留言接管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</a:rPr>
              <a:t>企业通讯录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27" name="矩形 3"/>
          <p:cNvSpPr>
            <a:spLocks noChangeArrowheads="1"/>
          </p:cNvSpPr>
          <p:nvPr/>
        </p:nvSpPr>
        <p:spPr bwMode="auto">
          <a:xfrm>
            <a:off x="6444903" y="4356545"/>
            <a:ext cx="2561123" cy="2105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7" tIns="45678" rIns="91357" bIns="45678">
            <a:spAutoFit/>
          </a:bodyPr>
          <a:lstStyle/>
          <a:p>
            <a:pPr defTabSz="913565" eaLnBrk="0" hangingPunct="0">
              <a:lnSpc>
                <a:spcPct val="150000"/>
              </a:lnSpc>
              <a:defRPr/>
            </a:pPr>
            <a:r>
              <a:rPr kumimoji="1" lang="zh-CN" altLang="en-US" b="1" kern="0" dirty="0" smtClean="0">
                <a:solidFill>
                  <a:srgbClr val="FF0000"/>
                </a:solidFill>
                <a:sym typeface="微软雅黑" pitchFamily="34" charset="-122"/>
              </a:rPr>
              <a:t>智能生活</a:t>
            </a:r>
            <a:endParaRPr kumimoji="1" lang="en-US" altLang="zh-CN" b="1" kern="0" dirty="0">
              <a:solidFill>
                <a:srgbClr val="FF0000"/>
              </a:solidFill>
              <a:sym typeface="微软雅黑" pitchFamily="34" charset="-122"/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</a:rPr>
              <a:t>陌电识别：</a:t>
            </a:r>
            <a:r>
              <a:rPr lang="zh-CN" altLang="en-US" sz="1400" dirty="0" smtClean="0">
                <a:solidFill>
                  <a:prstClr val="black"/>
                </a:solidFill>
              </a:rPr>
              <a:t>来电识别对方身份，推销、诈骗一目了然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zh-CN" altLang="en-US" sz="1400" b="1" dirty="0" smtClean="0">
                <a:solidFill>
                  <a:prstClr val="black"/>
                </a:solidFill>
              </a:rPr>
              <a:t>智能黄页：</a:t>
            </a:r>
            <a:r>
              <a:rPr lang="zh-CN" altLang="en-US" sz="1400" dirty="0" smtClean="0">
                <a:solidFill>
                  <a:prstClr val="black"/>
                </a:solidFill>
              </a:rPr>
              <a:t>支持充值、查违章、订机票等生活服务</a:t>
            </a:r>
            <a:endParaRPr lang="en-US" altLang="zh-CN" sz="1400" dirty="0">
              <a:solidFill>
                <a:prstClr val="black"/>
              </a:solidFill>
            </a:endParaRPr>
          </a:p>
        </p:txBody>
      </p:sp>
      <p:grpSp>
        <p:nvGrpSpPr>
          <p:cNvPr id="2" name="组 9"/>
          <p:cNvGrpSpPr/>
          <p:nvPr/>
        </p:nvGrpSpPr>
        <p:grpSpPr>
          <a:xfrm>
            <a:off x="3051711" y="2505427"/>
            <a:ext cx="381001" cy="380999"/>
            <a:chOff x="485704" y="2797943"/>
            <a:chExt cx="1721491" cy="1620000"/>
          </a:xfrm>
        </p:grpSpPr>
        <p:sp>
          <p:nvSpPr>
            <p:cNvPr id="29" name="TextBox 62"/>
            <p:cNvSpPr txBox="1"/>
            <p:nvPr/>
          </p:nvSpPr>
          <p:spPr>
            <a:xfrm>
              <a:off x="485704" y="3357244"/>
              <a:ext cx="1721491" cy="43858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/>
              <a:endParaRPr lang="zh-CN" altLang="en-US" sz="1200" b="1" spc="240" dirty="0">
                <a:solidFill>
                  <a:srgbClr val="FF0000"/>
                </a:solidFill>
                <a:latin typeface="Century Gothic"/>
              </a:endParaRPr>
            </a:p>
          </p:txBody>
        </p:sp>
        <p:pic>
          <p:nvPicPr>
            <p:cNvPr id="30" name="图片 29" descr="搜索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704" y="2797943"/>
              <a:ext cx="1613897" cy="1620000"/>
            </a:xfrm>
            <a:prstGeom prst="rect">
              <a:avLst/>
            </a:prstGeom>
          </p:spPr>
        </p:pic>
      </p:grpSp>
      <p:pic>
        <p:nvPicPr>
          <p:cNvPr id="31" name="图片 30" descr="云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711" y="4639028"/>
            <a:ext cx="381001" cy="407739"/>
          </a:xfrm>
          <a:prstGeom prst="rect">
            <a:avLst/>
          </a:prstGeom>
        </p:spPr>
      </p:pic>
      <p:pic>
        <p:nvPicPr>
          <p:cNvPr id="32" name="图片 31" descr="个性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7312" y="2505427"/>
            <a:ext cx="388107" cy="380999"/>
          </a:xfrm>
          <a:prstGeom prst="rect">
            <a:avLst/>
          </a:prstGeom>
        </p:spPr>
      </p:pic>
      <p:grpSp>
        <p:nvGrpSpPr>
          <p:cNvPr id="3" name="组 14"/>
          <p:cNvGrpSpPr/>
          <p:nvPr/>
        </p:nvGrpSpPr>
        <p:grpSpPr>
          <a:xfrm>
            <a:off x="5971885" y="4428553"/>
            <a:ext cx="356427" cy="468341"/>
            <a:chOff x="6994892" y="1553785"/>
            <a:chExt cx="1613897" cy="2141109"/>
          </a:xfrm>
        </p:grpSpPr>
        <p:pic>
          <p:nvPicPr>
            <p:cNvPr id="34" name="图片 33" descr="短信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4892" y="1553785"/>
              <a:ext cx="1613897" cy="1619998"/>
            </a:xfrm>
            <a:prstGeom prst="rect">
              <a:avLst/>
            </a:prstGeom>
          </p:spPr>
        </p:pic>
        <p:sp>
          <p:nvSpPr>
            <p:cNvPr id="35" name="文本框 8"/>
            <p:cNvSpPr txBox="1"/>
            <p:nvPr/>
          </p:nvSpPr>
          <p:spPr>
            <a:xfrm>
              <a:off x="6994892" y="3256309"/>
              <a:ext cx="1613897" cy="438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kumimoji="1" lang="zh-CN" altLang="en-US" sz="1200" b="1" spc="240" dirty="0">
                <a:solidFill>
                  <a:srgbClr val="FF0000"/>
                </a:solidFill>
                <a:latin typeface="Century Gothic"/>
              </a:endParaRPr>
            </a:p>
          </p:txBody>
        </p:sp>
      </p:grpSp>
      <p:pic>
        <p:nvPicPr>
          <p:cNvPr id="36" name="图片 35" descr="即时同步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4158" y="2124297"/>
            <a:ext cx="1744601" cy="3240360"/>
          </a:xfrm>
          <a:prstGeom prst="rect">
            <a:avLst/>
          </a:prstGeom>
        </p:spPr>
      </p:pic>
      <p:pic>
        <p:nvPicPr>
          <p:cNvPr id="37" name="图片 36" descr="黄页0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671" y="3708473"/>
            <a:ext cx="1584176" cy="3008459"/>
          </a:xfrm>
          <a:prstGeom prst="rect">
            <a:avLst/>
          </a:prstGeom>
        </p:spPr>
      </p:pic>
      <p:pic>
        <p:nvPicPr>
          <p:cNvPr id="38" name="图片 37" descr="黄页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512" y="4932609"/>
            <a:ext cx="2353375" cy="1656184"/>
          </a:xfrm>
          <a:prstGeom prst="rect">
            <a:avLst/>
          </a:prstGeom>
        </p:spPr>
      </p:pic>
      <p:pic>
        <p:nvPicPr>
          <p:cNvPr id="39" name="图片 38" descr="即时同步0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703" y="2409059"/>
            <a:ext cx="1210087" cy="939374"/>
          </a:xfrm>
          <a:prstGeom prst="rect">
            <a:avLst/>
          </a:prstGeom>
        </p:spPr>
      </p:pic>
      <p:pic>
        <p:nvPicPr>
          <p:cNvPr id="25602" name="Picture 2" descr="C:\Users\Administrator\Desktop\a686c9177f3e67093b95b98339c79f3df8dc5531.jpg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42844" y="1000108"/>
            <a:ext cx="1500198" cy="150019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8970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gray">
          <a:xfrm>
            <a:off x="318502" y="88495"/>
            <a:ext cx="85201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>
            <a:spAutoFit/>
          </a:bodyPr>
          <a:lstStyle/>
          <a:p>
            <a:pPr>
              <a:defRPr/>
            </a:pPr>
            <a:r>
              <a:rPr lang="en-US" altLang="zh-CN" sz="24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2.6</a:t>
            </a:r>
            <a:r>
              <a:rPr lang="zh-CN" altLang="en-US" sz="2400" b="1" kern="0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能力</a:t>
            </a:r>
            <a:r>
              <a:rPr lang="zh-CN" altLang="en-US" sz="2400" b="1" kern="0" dirty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开放平台</a:t>
            </a:r>
          </a:p>
        </p:txBody>
      </p:sp>
      <p:sp>
        <p:nvSpPr>
          <p:cNvPr id="3" name="圆角矩形 5"/>
          <p:cNvSpPr/>
          <p:nvPr/>
        </p:nvSpPr>
        <p:spPr>
          <a:xfrm>
            <a:off x="672691" y="3606361"/>
            <a:ext cx="7798618" cy="1136572"/>
          </a:xfrm>
          <a:prstGeom prst="roundRect">
            <a:avLst>
              <a:gd name="adj" fmla="val 7293"/>
            </a:avLst>
          </a:prstGeom>
          <a:solidFill>
            <a:srgbClr val="EEEEEE"/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612000" rIns="0" anchor="ctr"/>
          <a:lstStyle/>
          <a:p>
            <a:pPr marL="985838" lvl="1" indent="-1857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l"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保障能力（</a:t>
            </a:r>
            <a:r>
              <a:rPr lang="zh-CN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内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</a:t>
            </a:r>
            <a:r>
              <a:rPr lang="zh-CN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费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提供</a:t>
            </a:r>
            <a:r>
              <a:rPr lang="zh-CN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简单、透明、公平、安全的话费支付手段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有效助力价值变现。包含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费、网页计费、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DO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费三种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式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ounded Rectangle 16"/>
          <p:cNvSpPr/>
          <p:nvPr/>
        </p:nvSpPr>
        <p:spPr>
          <a:xfrm>
            <a:off x="766453" y="3670437"/>
            <a:ext cx="1179324" cy="100842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保障能力（应用内计费）</a:t>
            </a:r>
            <a:endParaRPr lang="en-US" sz="16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7"/>
          <p:cNvSpPr/>
          <p:nvPr/>
        </p:nvSpPr>
        <p:spPr>
          <a:xfrm>
            <a:off x="672691" y="4941168"/>
            <a:ext cx="7798618" cy="1137600"/>
          </a:xfrm>
          <a:prstGeom prst="roundRect">
            <a:avLst>
              <a:gd name="adj" fmla="val 8383"/>
            </a:avLst>
          </a:prstGeom>
          <a:solidFill>
            <a:srgbClr val="EEEEEE"/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612000" rIns="0" anchor="ctr"/>
          <a:lstStyle/>
          <a:p>
            <a:pPr marL="985838" lvl="1" indent="-1857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l"/>
              <a:defRPr/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开发者提供一站式数据分析服务，集成大网标签、计费内容、终端信息、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M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等核心数据，助力开发者洞察用户、改善产品、提升</a:t>
            </a: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盈利</a:t>
            </a:r>
            <a:endParaRPr lang="zh-CN" altLang="en-US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任意多边形 8"/>
          <p:cNvSpPr>
            <a:spLocks/>
          </p:cNvSpPr>
          <p:nvPr/>
        </p:nvSpPr>
        <p:spPr bwMode="auto">
          <a:xfrm>
            <a:off x="746651" y="5006772"/>
            <a:ext cx="1179691" cy="1006393"/>
          </a:xfrm>
          <a:custGeom>
            <a:avLst/>
            <a:gdLst>
              <a:gd name="T0" fmla="*/ 0 w 1669740"/>
              <a:gd name="T1" fmla="*/ 27890 h 1380124"/>
              <a:gd name="T2" fmla="*/ 15822 w 1669740"/>
              <a:gd name="T3" fmla="*/ 0 h 1380124"/>
              <a:gd name="T4" fmla="*/ 99030 w 1669740"/>
              <a:gd name="T5" fmla="*/ 0 h 1380124"/>
              <a:gd name="T6" fmla="*/ 114852 w 1669740"/>
              <a:gd name="T7" fmla="*/ 27890 h 1380124"/>
              <a:gd name="T8" fmla="*/ 114852 w 1669740"/>
              <a:gd name="T9" fmla="*/ 139444 h 1380124"/>
              <a:gd name="T10" fmla="*/ 99030 w 1669740"/>
              <a:gd name="T11" fmla="*/ 167334 h 1380124"/>
              <a:gd name="T12" fmla="*/ 15822 w 1669740"/>
              <a:gd name="T13" fmla="*/ 167334 h 1380124"/>
              <a:gd name="T14" fmla="*/ 0 w 1669740"/>
              <a:gd name="T15" fmla="*/ 139444 h 1380124"/>
              <a:gd name="T16" fmla="*/ 0 w 1669740"/>
              <a:gd name="T17" fmla="*/ 27890 h 13801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669740"/>
              <a:gd name="T28" fmla="*/ 0 h 1380124"/>
              <a:gd name="T29" fmla="*/ 1669740 w 1669740"/>
              <a:gd name="T30" fmla="*/ 1380124 h 138012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669740" h="1380124">
                <a:moveTo>
                  <a:pt x="0" y="230025"/>
                </a:moveTo>
                <a:cubicBezTo>
                  <a:pt x="0" y="102986"/>
                  <a:pt x="102986" y="0"/>
                  <a:pt x="230025" y="0"/>
                </a:cubicBezTo>
                <a:lnTo>
                  <a:pt x="1439715" y="0"/>
                </a:lnTo>
                <a:cubicBezTo>
                  <a:pt x="1566754" y="0"/>
                  <a:pt x="1669740" y="102986"/>
                  <a:pt x="1669740" y="230025"/>
                </a:cubicBezTo>
                <a:lnTo>
                  <a:pt x="1669740" y="1150099"/>
                </a:lnTo>
                <a:cubicBezTo>
                  <a:pt x="1669740" y="1277138"/>
                  <a:pt x="1566754" y="1380124"/>
                  <a:pt x="1439715" y="1380124"/>
                </a:cubicBezTo>
                <a:lnTo>
                  <a:pt x="230025" y="1380124"/>
                </a:lnTo>
                <a:cubicBezTo>
                  <a:pt x="102986" y="1380124"/>
                  <a:pt x="0" y="1277138"/>
                  <a:pt x="0" y="1150099"/>
                </a:cubicBezTo>
                <a:lnTo>
                  <a:pt x="0" y="23002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分析能力</a:t>
            </a:r>
          </a:p>
        </p:txBody>
      </p:sp>
      <p:sp>
        <p:nvSpPr>
          <p:cNvPr id="7" name="圆角矩形 5"/>
          <p:cNvSpPr/>
          <p:nvPr/>
        </p:nvSpPr>
        <p:spPr>
          <a:xfrm>
            <a:off x="672691" y="2316361"/>
            <a:ext cx="7798618" cy="1137600"/>
          </a:xfrm>
          <a:prstGeom prst="roundRect">
            <a:avLst>
              <a:gd name="adj" fmla="val 7293"/>
            </a:avLst>
          </a:prstGeom>
          <a:solidFill>
            <a:srgbClr val="EEEEEE"/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612000" rIns="0" anchor="ctr"/>
          <a:lstStyle/>
          <a:p>
            <a:pPr marL="985838" lvl="1" indent="-1857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l"/>
              <a:defRPr/>
            </a:pPr>
            <a:r>
              <a:rPr lang="zh-CN" altLang="en-US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中国移动互联网业务账号一键登录和接入合作网站，降低用户注册、登录门槛，给合作网站导流，提升访问量和用户数</a:t>
            </a:r>
            <a:endParaRPr lang="en-US" altLang="zh-CN" sz="1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ounded Rectangle 20"/>
          <p:cNvSpPr/>
          <p:nvPr/>
        </p:nvSpPr>
        <p:spPr>
          <a:xfrm>
            <a:off x="739257" y="2380951"/>
            <a:ext cx="1179324" cy="100842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认证能力</a:t>
            </a:r>
            <a:endParaRPr lang="en-US" altLang="zh-CN" sz="16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标题 1"/>
          <p:cNvSpPr txBox="1">
            <a:spLocks/>
          </p:cNvSpPr>
          <p:nvPr/>
        </p:nvSpPr>
        <p:spPr>
          <a:xfrm>
            <a:off x="415516" y="868561"/>
            <a:ext cx="8286750" cy="1317172"/>
          </a:xfrm>
          <a:prstGeom prst="rect">
            <a:avLst/>
          </a:prstGeom>
          <a:ln w="28575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zh-CN" altLang="en-US" sz="19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已</a:t>
            </a:r>
            <a:r>
              <a:rPr lang="zh-CN" altLang="en-US" sz="1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放</a:t>
            </a:r>
            <a:r>
              <a:rPr lang="zh-CN" altLang="en-US" sz="1900" b="1" dirty="0">
                <a:solidFill>
                  <a:srgbClr val="ED028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一认证、应用内计费、数据分析等</a:t>
            </a:r>
            <a:r>
              <a:rPr lang="en-US" altLang="zh-CN" sz="1900" b="1" dirty="0">
                <a:solidFill>
                  <a:srgbClr val="ED028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900" b="1" dirty="0">
                <a:solidFill>
                  <a:srgbClr val="ED028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余项能力</a:t>
            </a:r>
            <a:r>
              <a:rPr lang="zh-CN" altLang="en-US" sz="19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成功</a:t>
            </a:r>
            <a:r>
              <a:rPr lang="zh-CN" altLang="en-US" sz="19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了能力</a:t>
            </a:r>
            <a:r>
              <a:rPr lang="zh-CN" altLang="en-US" sz="1900" b="1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高效经营：</a:t>
            </a:r>
            <a:endParaRPr lang="zh-CN" altLang="en-US" sz="19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2922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cBIqhWIE.zUHsYllEV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4dVJ8dg0SGuK_7FK2K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9tfOMwa060eoGeho7D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gOSamDYkidaEdEyB5q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wPHgg6lke5u05lqwbq4w"/>
</p:tagLst>
</file>

<file path=ppt/theme/theme1.xml><?xml version="1.0" encoding="utf-8"?>
<a:theme xmlns:a="http://schemas.openxmlformats.org/drawingml/2006/main" name="6_Landscape2009_10-21_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雅黑">
      <a:majorFont>
        <a:latin typeface="微软雅黑"/>
        <a:ea typeface="微软雅黑"/>
        <a:cs typeface="Arial"/>
      </a:majorFont>
      <a:minorFont>
        <a:latin typeface="微软雅黑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72000" tIns="72000" rIns="72000" bIns="72000">
        <a:noAutofit/>
      </a:bodyPr>
      <a:lstStyle>
        <a:defPPr algn="just" eaLnBrk="1" hangingPunct="1">
          <a:lnSpc>
            <a:spcPct val="120000"/>
          </a:lnSpc>
          <a:spcBef>
            <a:spcPts val="0"/>
          </a:spcBef>
          <a:buFontTx/>
          <a:buChar char="•"/>
          <a:defRPr sz="1200" dirty="0" smtClean="0">
            <a:solidFill>
              <a:srgbClr val="000000"/>
            </a:solidFill>
          </a:defRPr>
        </a:defPPr>
      </a:lstStyle>
    </a:spDef>
  </a:objectDefaults>
  <a:extraClrSchemeLst>
    <a:extraClrScheme>
      <a:clrScheme name="2_Landscape2009_10-21_2 1">
        <a:dk1>
          <a:srgbClr val="003258"/>
        </a:dk1>
        <a:lt1>
          <a:srgbClr val="FFFFFF"/>
        </a:lt1>
        <a:dk2>
          <a:srgbClr val="003258"/>
        </a:dk2>
        <a:lt2>
          <a:srgbClr val="58585A"/>
        </a:lt2>
        <a:accent1>
          <a:srgbClr val="003258"/>
        </a:accent1>
        <a:accent2>
          <a:srgbClr val="0094D2"/>
        </a:accent2>
        <a:accent3>
          <a:srgbClr val="FFFFFF"/>
        </a:accent3>
        <a:accent4>
          <a:srgbClr val="00294A"/>
        </a:accent4>
        <a:accent5>
          <a:srgbClr val="AAADB4"/>
        </a:accent5>
        <a:accent6>
          <a:srgbClr val="0086BE"/>
        </a:accent6>
        <a:hlink>
          <a:srgbClr val="9AC3C1"/>
        </a:hlink>
        <a:folHlink>
          <a:srgbClr val="F0EDF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Landscape2009_10-21_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雅黑">
      <a:majorFont>
        <a:latin typeface="微软雅黑"/>
        <a:ea typeface="微软雅黑"/>
        <a:cs typeface="Arial"/>
      </a:majorFont>
      <a:minorFont>
        <a:latin typeface="微软雅黑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72000" tIns="72000" rIns="72000" bIns="72000">
        <a:noAutofit/>
      </a:bodyPr>
      <a:lstStyle>
        <a:defPPr algn="just" eaLnBrk="1" hangingPunct="1">
          <a:lnSpc>
            <a:spcPct val="120000"/>
          </a:lnSpc>
          <a:spcBef>
            <a:spcPts val="0"/>
          </a:spcBef>
          <a:buFontTx/>
          <a:buChar char="•"/>
          <a:defRPr sz="1200" dirty="0" smtClean="0">
            <a:solidFill>
              <a:srgbClr val="000000"/>
            </a:solidFill>
          </a:defRPr>
        </a:defPPr>
      </a:lstStyle>
    </a:spDef>
  </a:objectDefaults>
  <a:extraClrSchemeLst>
    <a:extraClrScheme>
      <a:clrScheme name="2_Landscape2009_10-21_2 1">
        <a:dk1>
          <a:srgbClr val="003258"/>
        </a:dk1>
        <a:lt1>
          <a:srgbClr val="FFFFFF"/>
        </a:lt1>
        <a:dk2>
          <a:srgbClr val="003258"/>
        </a:dk2>
        <a:lt2>
          <a:srgbClr val="58585A"/>
        </a:lt2>
        <a:accent1>
          <a:srgbClr val="003258"/>
        </a:accent1>
        <a:accent2>
          <a:srgbClr val="0094D2"/>
        </a:accent2>
        <a:accent3>
          <a:srgbClr val="FFFFFF"/>
        </a:accent3>
        <a:accent4>
          <a:srgbClr val="00294A"/>
        </a:accent4>
        <a:accent5>
          <a:srgbClr val="AAADB4"/>
        </a:accent5>
        <a:accent6>
          <a:srgbClr val="0086BE"/>
        </a:accent6>
        <a:hlink>
          <a:srgbClr val="9AC3C1"/>
        </a:hlink>
        <a:folHlink>
          <a:srgbClr val="F0EDF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1</TotalTime>
  <Words>892</Words>
  <Application>Microsoft Office PowerPoint</Application>
  <PresentationFormat>全屏显示(4:3)</PresentationFormat>
  <Paragraphs>81</Paragraphs>
  <Slides>6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9" baseType="lpstr">
      <vt:lpstr>6_Landscape2009_10-21_2</vt:lpstr>
      <vt:lpstr>12_Landscape2009_10-21_2</vt:lpstr>
      <vt:lpstr>think-cell Slide</vt:lpstr>
      <vt:lpstr>2.1 MM—移动应用商场</vt:lpstr>
      <vt:lpstr>PowerPoint 演示文稿</vt:lpstr>
      <vt:lpstr>2.3 139邮箱</vt:lpstr>
      <vt:lpstr>2.4 和彩云</vt:lpstr>
      <vt:lpstr>2.5 和通讯录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邱海燕</dc:creator>
  <cp:lastModifiedBy>gan.lyons/甘英_粤_项目执行</cp:lastModifiedBy>
  <cp:revision>85</cp:revision>
  <dcterms:created xsi:type="dcterms:W3CDTF">2015-09-06T07:05:17Z</dcterms:created>
  <dcterms:modified xsi:type="dcterms:W3CDTF">2016-08-22T08:11:30Z</dcterms:modified>
</cp:coreProperties>
</file>